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1"/>
  </p:notesMasterIdLst>
  <p:handoutMasterIdLst>
    <p:handoutMasterId r:id="rId12"/>
  </p:handoutMasterIdLst>
  <p:sldIdLst>
    <p:sldId id="276" r:id="rId5"/>
    <p:sldId id="306" r:id="rId6"/>
    <p:sldId id="311" r:id="rId7"/>
    <p:sldId id="308" r:id="rId8"/>
    <p:sldId id="309" r:id="rId9"/>
    <p:sldId id="312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4A5"/>
    <a:srgbClr val="0056B7"/>
    <a:srgbClr val="0077EE"/>
    <a:srgbClr val="4BA5FF"/>
    <a:srgbClr val="005CB8"/>
    <a:srgbClr val="303E48"/>
    <a:srgbClr val="303E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92" autoAdjust="0"/>
    <p:restoredTop sz="94660"/>
  </p:normalViewPr>
  <p:slideViewPr>
    <p:cSldViewPr snapToGrid="0">
      <p:cViewPr varScale="1">
        <p:scale>
          <a:sx n="76" d="100"/>
          <a:sy n="76" d="100"/>
        </p:scale>
        <p:origin x="821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40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clId="Web-{3721D5BD-3B19-43B4-A287-FBA80C66FFA4}"/>
    <pc:docChg chg="modSld">
      <pc:chgData name="" userId="" providerId="" clId="Web-{3721D5BD-3B19-43B4-A287-FBA80C66FFA4}" dt="2017-12-08T15:28:31.228" v="4"/>
      <pc:docMkLst>
        <pc:docMk/>
      </pc:docMkLst>
      <pc:sldChg chg="modSp">
        <pc:chgData name="" userId="" providerId="" clId="Web-{3721D5BD-3B19-43B4-A287-FBA80C66FFA4}" dt="2017-12-08T15:28:31.228" v="4"/>
        <pc:sldMkLst>
          <pc:docMk/>
          <pc:sldMk cId="4072504432" sldId="296"/>
        </pc:sldMkLst>
        <pc:spChg chg="mod">
          <ac:chgData name="" userId="" providerId="" clId="Web-{3721D5BD-3B19-43B4-A287-FBA80C66FFA4}" dt="2017-12-08T15:28:31.228" v="4"/>
          <ac:spMkLst>
            <pc:docMk/>
            <pc:sldMk cId="4072504432" sldId="296"/>
            <ac:spMk id="479" creationId="{00000000-0000-0000-0000-000000000000}"/>
          </ac:spMkLst>
        </pc:spChg>
      </pc:sldChg>
    </pc:docChg>
  </pc:docChgLst>
  <pc:docChgLst>
    <pc:chgData name="Rachel Arnold" userId="1003BFFDA45579C8@LIVE.COM" providerId="AD" clId="Web-{53CC29BD-B945-474C-B39D-647D911CE8C9}"/>
    <pc:docChg chg="modSld">
      <pc:chgData name="Rachel Arnold" userId="1003BFFDA45579C8@LIVE.COM" providerId="AD" clId="Web-{53CC29BD-B945-474C-B39D-647D911CE8C9}" dt="2018-02-05T22:21:55.744" v="1"/>
      <pc:docMkLst>
        <pc:docMk/>
      </pc:docMkLst>
      <pc:sldChg chg="modSp">
        <pc:chgData name="Rachel Arnold" userId="1003BFFDA45579C8@LIVE.COM" providerId="AD" clId="Web-{53CC29BD-B945-474C-B39D-647D911CE8C9}" dt="2018-02-05T22:21:55.744" v="1"/>
        <pc:sldMkLst>
          <pc:docMk/>
          <pc:sldMk cId="2739617098" sldId="285"/>
        </pc:sldMkLst>
        <pc:spChg chg="mod">
          <ac:chgData name="Rachel Arnold" userId="1003BFFDA45579C8@LIVE.COM" providerId="AD" clId="Web-{53CC29BD-B945-474C-B39D-647D911CE8C9}" dt="2018-02-05T22:21:55.744" v="1"/>
          <ac:spMkLst>
            <pc:docMk/>
            <pc:sldMk cId="2739617098" sldId="285"/>
            <ac:spMk id="4" creationId="{00000000-0000-0000-0000-000000000000}"/>
          </ac:spMkLst>
        </pc:spChg>
      </pc:sldChg>
    </pc:docChg>
  </pc:docChgLst>
  <pc:docChgLst>
    <pc:chgData name="Taylor Winn" userId="10037FFEA251B76E@LIVE.COM" providerId="AD" clId="Web-{31EEFCA9-0061-43E3-8BC4-EAF55CD80A5F}"/>
    <pc:docChg chg="modSld">
      <pc:chgData name="Taylor Winn" userId="10037FFEA251B76E@LIVE.COM" providerId="AD" clId="Web-{31EEFCA9-0061-43E3-8BC4-EAF55CD80A5F}" dt="2017-12-27T18:37:55.450" v="31"/>
      <pc:docMkLst>
        <pc:docMk/>
      </pc:docMkLst>
      <pc:sldChg chg="modSp">
        <pc:chgData name="Taylor Winn" userId="10037FFEA251B76E@LIVE.COM" providerId="AD" clId="Web-{31EEFCA9-0061-43E3-8BC4-EAF55CD80A5F}" dt="2017-12-27T18:37:55.450" v="30"/>
        <pc:sldMkLst>
          <pc:docMk/>
          <pc:sldMk cId="4082645643" sldId="277"/>
        </pc:sldMkLst>
        <pc:spChg chg="mod">
          <ac:chgData name="Taylor Winn" userId="10037FFEA251B76E@LIVE.COM" providerId="AD" clId="Web-{31EEFCA9-0061-43E3-8BC4-EAF55CD80A5F}" dt="2017-12-27T18:37:55.450" v="30"/>
          <ac:spMkLst>
            <pc:docMk/>
            <pc:sldMk cId="4082645643" sldId="277"/>
            <ac:spMk id="3" creationId="{00000000-0000-0000-0000-000000000000}"/>
          </ac:spMkLst>
        </pc:spChg>
        <pc:spChg chg="mod">
          <ac:chgData name="Taylor Winn" userId="10037FFEA251B76E@LIVE.COM" providerId="AD" clId="Web-{31EEFCA9-0061-43E3-8BC4-EAF55CD80A5F}" dt="2017-12-27T18:37:37.009" v="5"/>
          <ac:spMkLst>
            <pc:docMk/>
            <pc:sldMk cId="4082645643" sldId="277"/>
            <ac:spMk id="4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3D139D-0E9E-4EC8-940F-CBC1D8B0B74D}" type="datetimeFigureOut">
              <a:rPr lang="en-US" smtClean="0"/>
              <a:t>2/2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47DD74-E843-4AB5-BDCA-41531D4F52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35901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3B1B9F-6137-408C-9132-957537BDFACE}" type="datetimeFigureOut">
              <a:rPr lang="en-US" smtClean="0"/>
              <a:t>2/2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291D18-4659-4470-9E79-D1AC771793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799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64002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3558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8264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794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8073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291D18-4659-4470-9E79-D1AC771793C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14918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4.png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6146" y="3941212"/>
            <a:ext cx="8459244" cy="738664"/>
          </a:xfrm>
          <a:noFill/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defRPr sz="4800" spc="-150" baseline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26146" y="4797578"/>
            <a:ext cx="8459244" cy="498598"/>
          </a:xfrm>
          <a:noFill/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200" spc="-70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cxnSp>
        <p:nvCxnSpPr>
          <p:cNvPr id="9" name="Straight Connector 8"/>
          <p:cNvCxnSpPr>
            <a:cxnSpLocks/>
          </p:cNvCxnSpPr>
          <p:nvPr userDrawn="1"/>
        </p:nvCxnSpPr>
        <p:spPr>
          <a:xfrm>
            <a:off x="526146" y="5326277"/>
            <a:ext cx="8459244" cy="0"/>
          </a:xfrm>
          <a:prstGeom prst="line">
            <a:avLst/>
          </a:prstGeom>
          <a:ln w="6350">
            <a:solidFill>
              <a:schemeClr val="accent4">
                <a:alpha val="30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8001" y="512763"/>
            <a:ext cx="2068432" cy="490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33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bg>
      <p:bgPr>
        <a:solidFill>
          <a:srgbClr val="303E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08001" y="512763"/>
            <a:ext cx="2072968" cy="49377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112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6996" r="13300"/>
          <a:stretch>
            <a:fillRect/>
          </a:stretch>
        </p:blipFill>
        <p:spPr>
          <a:xfrm>
            <a:off x="7086600" y="0"/>
            <a:ext cx="5105399" cy="4887782"/>
          </a:xfrm>
          <a:custGeom>
            <a:avLst/>
            <a:gdLst>
              <a:gd name="connsiteX0" fmla="*/ 0 w 5105399"/>
              <a:gd name="connsiteY0" fmla="*/ 0 h 4887782"/>
              <a:gd name="connsiteX1" fmla="*/ 5105399 w 5105399"/>
              <a:gd name="connsiteY1" fmla="*/ 0 h 4887782"/>
              <a:gd name="connsiteX2" fmla="*/ 5105399 w 5105399"/>
              <a:gd name="connsiteY2" fmla="*/ 4887782 h 4887782"/>
              <a:gd name="connsiteX3" fmla="*/ 0 w 5105399"/>
              <a:gd name="connsiteY3" fmla="*/ 4887782 h 4887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05399" h="4887782">
                <a:moveTo>
                  <a:pt x="0" y="0"/>
                </a:moveTo>
                <a:lnTo>
                  <a:pt x="5105399" y="0"/>
                </a:lnTo>
                <a:lnTo>
                  <a:pt x="5105399" y="4887782"/>
                </a:lnTo>
                <a:lnTo>
                  <a:pt x="0" y="4887782"/>
                </a:lnTo>
                <a:close/>
              </a:path>
            </a:pathLst>
          </a:cu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8" name="think-cell Slide" r:id="rId7" imgW="377" imgH="377" progId="TCLayout.ActiveDocument.1">
                  <p:embed/>
                </p:oleObj>
              </mc:Choice>
              <mc:Fallback>
                <p:oleObj name="think-cell Slide" r:id="rId7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6146" y="3941212"/>
            <a:ext cx="8459244" cy="738664"/>
          </a:xfrm>
          <a:noFill/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defRPr sz="4800" spc="-150" baseline="0">
                <a:solidFill>
                  <a:schemeClr val="bg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26146" y="4797578"/>
            <a:ext cx="8459244" cy="498598"/>
          </a:xfrm>
          <a:noFill/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200" spc="-70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cxnSp>
        <p:nvCxnSpPr>
          <p:cNvPr id="9" name="Straight Connector 8"/>
          <p:cNvCxnSpPr>
            <a:cxnSpLocks/>
          </p:cNvCxnSpPr>
          <p:nvPr userDrawn="1"/>
        </p:nvCxnSpPr>
        <p:spPr>
          <a:xfrm>
            <a:off x="526146" y="5326277"/>
            <a:ext cx="8459244" cy="0"/>
          </a:xfrm>
          <a:prstGeom prst="line">
            <a:avLst/>
          </a:prstGeom>
          <a:ln w="6350">
            <a:solidFill>
              <a:schemeClr val="accent4">
                <a:alpha val="30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059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2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auto">
          <a:xfrm>
            <a:off x="0" y="4455322"/>
            <a:ext cx="12192000" cy="2402678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GB" sz="22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6146" y="4739426"/>
            <a:ext cx="8459244" cy="923330"/>
          </a:xfrm>
          <a:noFill/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defRPr sz="6000" spc="-15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26146" y="5716958"/>
            <a:ext cx="8459244" cy="498598"/>
          </a:xfrm>
          <a:noFill/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 spc="-7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282341" y="5214418"/>
            <a:ext cx="2401659" cy="566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089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8" y="1447799"/>
            <a:ext cx="11151917" cy="21544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400"/>
              </a:spcBef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0" indent="0">
              <a:buNone/>
              <a:defRPr sz="2000">
                <a:solidFill>
                  <a:schemeClr val="tx2"/>
                </a:solidFill>
              </a:defRPr>
            </a:lvl2pPr>
            <a:lvl3pPr marL="231775" indent="0">
              <a:buNone/>
              <a:defRPr sz="2000">
                <a:solidFill>
                  <a:schemeClr val="tx2"/>
                </a:solidFill>
              </a:defRPr>
            </a:lvl3pPr>
            <a:lvl4pPr marL="457200" indent="0">
              <a:buNone/>
              <a:defRPr sz="2000">
                <a:solidFill>
                  <a:schemeClr val="tx2"/>
                </a:solidFill>
              </a:defRPr>
            </a:lvl4pPr>
            <a:lvl5pPr marL="693738" indent="0">
              <a:buNone/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4038600" y="6253029"/>
            <a:ext cx="4114800" cy="2194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9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023938" y="6253028"/>
            <a:ext cx="560832" cy="219456"/>
          </a:xfrm>
          <a:prstGeom prst="rect">
            <a:avLst/>
          </a:prstGeom>
        </p:spPr>
        <p:txBody>
          <a:bodyPr lIns="0" tIns="60949" rIns="0" bIns="60949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pPr defTabSz="914363"/>
            <a:fld id="{727B4C2D-45E2-4621-8491-2995EB46A674}" type="slidenum">
              <a:rPr lang="en-US" smtClean="0"/>
              <a:pPr defTabSz="91436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065276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8000" y="299804"/>
            <a:ext cx="11176000" cy="932563"/>
          </a:xfrm>
        </p:spPr>
        <p:txBody>
          <a:bodyPr/>
          <a:lstStyle>
            <a:lvl1pPr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4038600" y="6253029"/>
            <a:ext cx="4114800" cy="2194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023938" y="6253028"/>
            <a:ext cx="560832" cy="219456"/>
          </a:xfrm>
          <a:prstGeom prst="rect">
            <a:avLst/>
          </a:prstGeom>
        </p:spPr>
        <p:txBody>
          <a:bodyPr lIns="0" tIns="60949" rIns="0" bIns="60949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pPr defTabSz="914363"/>
            <a:fld id="{727B4C2D-45E2-4621-8491-2995EB46A674}" type="slidenum">
              <a:rPr lang="en-US" smtClean="0"/>
              <a:pPr defTabSz="914363"/>
              <a:t>‹#›</a:t>
            </a:fld>
            <a:endParaRPr lang="en-US"/>
          </a:p>
        </p:txBody>
      </p:sp>
      <p:sp>
        <p:nvSpPr>
          <p:cNvPr id="8" name="Freeform: Shape 7"/>
          <p:cNvSpPr/>
          <p:nvPr userDrawn="1"/>
        </p:nvSpPr>
        <p:spPr>
          <a:xfrm>
            <a:off x="0" y="6515100"/>
            <a:ext cx="12192000" cy="342900"/>
          </a:xfrm>
          <a:custGeom>
            <a:avLst/>
            <a:gdLst>
              <a:gd name="connsiteX0" fmla="*/ 12192000 w 12192000"/>
              <a:gd name="connsiteY0" fmla="*/ 0 h 342900"/>
              <a:gd name="connsiteX1" fmla="*/ 12192000 w 12192000"/>
              <a:gd name="connsiteY1" fmla="*/ 342900 h 342900"/>
              <a:gd name="connsiteX2" fmla="*/ 0 w 12192000"/>
              <a:gd name="connsiteY2" fmla="*/ 342900 h 342900"/>
              <a:gd name="connsiteX3" fmla="*/ 0 w 12192000"/>
              <a:gd name="connsiteY3" fmla="*/ 260092 h 34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900">
                <a:moveTo>
                  <a:pt x="12192000" y="0"/>
                </a:moveTo>
                <a:lnTo>
                  <a:pt x="12192000" y="342900"/>
                </a:lnTo>
                <a:lnTo>
                  <a:pt x="0" y="342900"/>
                </a:lnTo>
                <a:lnTo>
                  <a:pt x="0" y="260092"/>
                </a:lnTo>
                <a:close/>
              </a:path>
            </a:pathLst>
          </a:custGeom>
          <a:solidFill>
            <a:schemeClr val="accent1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800">
                <a:solidFill>
                  <a:schemeClr val="bg1">
                    <a:lumMod val="75000"/>
                  </a:schemeClr>
                </a:solidFill>
              </a:rPr>
              <a:t>©Valorem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8000" y="6162485"/>
            <a:ext cx="400543" cy="400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55590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4038600" y="6253029"/>
            <a:ext cx="4114800" cy="2194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023938" y="6253028"/>
            <a:ext cx="560832" cy="219456"/>
          </a:xfrm>
          <a:prstGeom prst="rect">
            <a:avLst/>
          </a:prstGeom>
        </p:spPr>
        <p:txBody>
          <a:bodyPr lIns="0" tIns="60949" rIns="0" bIns="60949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pPr defTabSz="914363"/>
            <a:fld id="{727B4C2D-45E2-4621-8491-2995EB46A674}" type="slidenum">
              <a:rPr lang="en-US" smtClean="0"/>
              <a:pPr defTabSz="91436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87073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2514" y="2344577"/>
            <a:ext cx="11161486" cy="1218795"/>
          </a:xfrm>
        </p:spPr>
        <p:txBody>
          <a:bodyPr anchor="b" anchorCtr="0"/>
          <a:lstStyle>
            <a:lvl1pPr>
              <a:defRPr sz="6600" spc="-100" baseline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22514" y="3606915"/>
            <a:ext cx="11161486" cy="498598"/>
          </a:xfrm>
          <a:noFill/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200" spc="0" baseline="0">
                <a:solidFill>
                  <a:schemeClr val="tx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IN"/>
              <a:t>Click to edit title style</a:t>
            </a:r>
            <a:endParaRPr lang="en-US"/>
          </a:p>
        </p:txBody>
      </p:sp>
      <p:sp>
        <p:nvSpPr>
          <p:cNvPr id="14" name="Freeform: Shape 13"/>
          <p:cNvSpPr/>
          <p:nvPr userDrawn="1"/>
        </p:nvSpPr>
        <p:spPr>
          <a:xfrm>
            <a:off x="0" y="5943600"/>
            <a:ext cx="12192000" cy="914400"/>
          </a:xfrm>
          <a:custGeom>
            <a:avLst/>
            <a:gdLst>
              <a:gd name="connsiteX0" fmla="*/ 12192000 w 12192000"/>
              <a:gd name="connsiteY0" fmla="*/ 0 h 914400"/>
              <a:gd name="connsiteX1" fmla="*/ 12192000 w 12192000"/>
              <a:gd name="connsiteY1" fmla="*/ 914400 h 914400"/>
              <a:gd name="connsiteX2" fmla="*/ 0 w 12192000"/>
              <a:gd name="connsiteY2" fmla="*/ 914400 h 914400"/>
              <a:gd name="connsiteX3" fmla="*/ 0 w 12192000"/>
              <a:gd name="connsiteY3" fmla="*/ 813554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914400">
                <a:moveTo>
                  <a:pt x="12192000" y="0"/>
                </a:moveTo>
                <a:lnTo>
                  <a:pt x="12192000" y="914400"/>
                </a:lnTo>
                <a:lnTo>
                  <a:pt x="0" y="914400"/>
                </a:lnTo>
                <a:lnTo>
                  <a:pt x="0" y="813554"/>
                </a:lnTo>
                <a:close/>
              </a:path>
            </a:pathLst>
          </a:custGeom>
          <a:solidFill>
            <a:srgbClr val="0044A5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Freeform: Shape 18"/>
          <p:cNvSpPr/>
          <p:nvPr userDrawn="1"/>
        </p:nvSpPr>
        <p:spPr>
          <a:xfrm>
            <a:off x="6638480" y="5943600"/>
            <a:ext cx="5553520" cy="898700"/>
          </a:xfrm>
          <a:custGeom>
            <a:avLst/>
            <a:gdLst>
              <a:gd name="connsiteX0" fmla="*/ 5553520 w 5553520"/>
              <a:gd name="connsiteY0" fmla="*/ 0 h 898700"/>
              <a:gd name="connsiteX1" fmla="*/ 5553520 w 5553520"/>
              <a:gd name="connsiteY1" fmla="*/ 898700 h 898700"/>
              <a:gd name="connsiteX2" fmla="*/ 0 w 5553520"/>
              <a:gd name="connsiteY2" fmla="*/ 370578 h 8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53520" h="898700">
                <a:moveTo>
                  <a:pt x="5553520" y="0"/>
                </a:moveTo>
                <a:lnTo>
                  <a:pt x="5553520" y="898700"/>
                </a:lnTo>
                <a:lnTo>
                  <a:pt x="0" y="370578"/>
                </a:lnTo>
                <a:close/>
              </a:path>
            </a:pathLst>
          </a:custGeom>
          <a:solidFill>
            <a:srgbClr val="0056B7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6"/>
          <a:srcRect r="13515"/>
          <a:stretch>
            <a:fillRect/>
          </a:stretch>
        </p:blipFill>
        <p:spPr>
          <a:xfrm>
            <a:off x="9982200" y="2078010"/>
            <a:ext cx="2216357" cy="2562717"/>
          </a:xfrm>
          <a:custGeom>
            <a:avLst/>
            <a:gdLst>
              <a:gd name="connsiteX0" fmla="*/ 0 w 1866486"/>
              <a:gd name="connsiteY0" fmla="*/ 0 h 2158171"/>
              <a:gd name="connsiteX1" fmla="*/ 1866486 w 1866486"/>
              <a:gd name="connsiteY1" fmla="*/ 0 h 2158171"/>
              <a:gd name="connsiteX2" fmla="*/ 1866486 w 1866486"/>
              <a:gd name="connsiteY2" fmla="*/ 2158171 h 2158171"/>
              <a:gd name="connsiteX3" fmla="*/ 0 w 1866486"/>
              <a:gd name="connsiteY3" fmla="*/ 2158171 h 2158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6486" h="2158171">
                <a:moveTo>
                  <a:pt x="0" y="0"/>
                </a:moveTo>
                <a:lnTo>
                  <a:pt x="1866486" y="0"/>
                </a:lnTo>
                <a:lnTo>
                  <a:pt x="1866486" y="2158171"/>
                </a:lnTo>
                <a:lnTo>
                  <a:pt x="0" y="215817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54609660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514" y="2598577"/>
            <a:ext cx="11161486" cy="1218795"/>
          </a:xfrm>
        </p:spPr>
        <p:txBody>
          <a:bodyPr anchor="b" anchorCtr="0"/>
          <a:lstStyle>
            <a:lvl1pPr>
              <a:defRPr sz="6600" spc="-100" baseline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22514" y="3935092"/>
            <a:ext cx="11161486" cy="498598"/>
          </a:xfrm>
          <a:noFill/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200" spc="0" baseline="0">
                <a:solidFill>
                  <a:schemeClr val="tx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IN"/>
              <a:t>Click to edit title style</a:t>
            </a:r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368300" y="-470115"/>
            <a:ext cx="2862072" cy="2862072"/>
          </a:xfrm>
          <a:custGeom>
            <a:avLst/>
            <a:gdLst>
              <a:gd name="connsiteX0" fmla="*/ 304800 w 2362200"/>
              <a:gd name="connsiteY0" fmla="*/ 389343 h 2362200"/>
              <a:gd name="connsiteX1" fmla="*/ 2362200 w 2362200"/>
              <a:gd name="connsiteY1" fmla="*/ 389343 h 2362200"/>
              <a:gd name="connsiteX2" fmla="*/ 2362200 w 2362200"/>
              <a:gd name="connsiteY2" fmla="*/ 2362200 h 2362200"/>
              <a:gd name="connsiteX3" fmla="*/ 304800 w 2362200"/>
              <a:gd name="connsiteY3" fmla="*/ 2362200 h 2362200"/>
              <a:gd name="connsiteX4" fmla="*/ 0 w 2362200"/>
              <a:gd name="connsiteY4" fmla="*/ 0 h 2362200"/>
              <a:gd name="connsiteX5" fmla="*/ 304800 w 2362200"/>
              <a:gd name="connsiteY5" fmla="*/ 0 h 2362200"/>
              <a:gd name="connsiteX6" fmla="*/ 304800 w 2362200"/>
              <a:gd name="connsiteY6" fmla="*/ 389343 h 2362200"/>
              <a:gd name="connsiteX7" fmla="*/ 0 w 2362200"/>
              <a:gd name="connsiteY7" fmla="*/ 389343 h 236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62200" h="2362200">
                <a:moveTo>
                  <a:pt x="304800" y="389343"/>
                </a:moveTo>
                <a:lnTo>
                  <a:pt x="2362200" y="389343"/>
                </a:lnTo>
                <a:lnTo>
                  <a:pt x="2362200" y="2362200"/>
                </a:lnTo>
                <a:lnTo>
                  <a:pt x="304800" y="2362200"/>
                </a:lnTo>
                <a:close/>
                <a:moveTo>
                  <a:pt x="0" y="0"/>
                </a:moveTo>
                <a:lnTo>
                  <a:pt x="304800" y="0"/>
                </a:lnTo>
                <a:lnTo>
                  <a:pt x="304800" y="389343"/>
                </a:lnTo>
                <a:lnTo>
                  <a:pt x="0" y="389343"/>
                </a:lnTo>
                <a:close/>
              </a:path>
            </a:pathLst>
          </a:cu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019409" y="6273800"/>
            <a:ext cx="1664591" cy="394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822343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368300" y="-465543"/>
            <a:ext cx="2857500" cy="2857500"/>
          </a:xfrm>
          <a:custGeom>
            <a:avLst/>
            <a:gdLst>
              <a:gd name="connsiteX0" fmla="*/ 304800 w 2359152"/>
              <a:gd name="connsiteY0" fmla="*/ 389343 h 2359152"/>
              <a:gd name="connsiteX1" fmla="*/ 2359152 w 2359152"/>
              <a:gd name="connsiteY1" fmla="*/ 389343 h 2359152"/>
              <a:gd name="connsiteX2" fmla="*/ 2359152 w 2359152"/>
              <a:gd name="connsiteY2" fmla="*/ 2359152 h 2359152"/>
              <a:gd name="connsiteX3" fmla="*/ 304800 w 2359152"/>
              <a:gd name="connsiteY3" fmla="*/ 2359152 h 2359152"/>
              <a:gd name="connsiteX4" fmla="*/ 0 w 2359152"/>
              <a:gd name="connsiteY4" fmla="*/ 0 h 2359152"/>
              <a:gd name="connsiteX5" fmla="*/ 304800 w 2359152"/>
              <a:gd name="connsiteY5" fmla="*/ 0 h 2359152"/>
              <a:gd name="connsiteX6" fmla="*/ 304800 w 2359152"/>
              <a:gd name="connsiteY6" fmla="*/ 389343 h 2359152"/>
              <a:gd name="connsiteX7" fmla="*/ 0 w 2359152"/>
              <a:gd name="connsiteY7" fmla="*/ 389343 h 2359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59152" h="2359152">
                <a:moveTo>
                  <a:pt x="304800" y="389343"/>
                </a:moveTo>
                <a:lnTo>
                  <a:pt x="2359152" y="389343"/>
                </a:lnTo>
                <a:lnTo>
                  <a:pt x="2359152" y="2359152"/>
                </a:lnTo>
                <a:lnTo>
                  <a:pt x="304800" y="2359152"/>
                </a:lnTo>
                <a:close/>
                <a:moveTo>
                  <a:pt x="0" y="0"/>
                </a:moveTo>
                <a:lnTo>
                  <a:pt x="304800" y="0"/>
                </a:lnTo>
                <a:lnTo>
                  <a:pt x="304800" y="389343"/>
                </a:lnTo>
                <a:lnTo>
                  <a:pt x="0" y="389343"/>
                </a:lnTo>
                <a:close/>
              </a:path>
            </a:pathLst>
          </a:cu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033303" y="6275372"/>
            <a:ext cx="1650697" cy="393192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6" name="think-cell Slide" r:id="rId6" imgW="377" imgH="377" progId="TCLayout.ActiveDocument.1">
                  <p:embed/>
                </p:oleObj>
              </mc:Choice>
              <mc:Fallback>
                <p:oleObj name="think-cell Slide" r:id="rId6" imgW="377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514" y="2598577"/>
            <a:ext cx="11161486" cy="1218795"/>
          </a:xfrm>
        </p:spPr>
        <p:txBody>
          <a:bodyPr anchor="b" anchorCtr="0"/>
          <a:lstStyle>
            <a:lvl1pPr>
              <a:defRPr sz="6600" spc="-100" baseline="0">
                <a:solidFill>
                  <a:schemeClr val="bg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22514" y="3935092"/>
            <a:ext cx="11161486" cy="498598"/>
          </a:xfrm>
          <a:noFill/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200" spc="0" baseline="0">
                <a:solidFill>
                  <a:schemeClr val="bg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IN"/>
              <a:t>Click to edit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6692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name="think-cell Slide" r:id="rId13" imgW="377" imgH="377" progId="TCLayout.ActiveDocument.1">
                  <p:embed/>
                </p:oleObj>
              </mc:Choice>
              <mc:Fallback>
                <p:oleObj name="think-cell Slide" r:id="rId13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08000" y="1447801"/>
            <a:ext cx="11176000" cy="221599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08000" y="299804"/>
            <a:ext cx="11176000" cy="932563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023938" y="6253028"/>
            <a:ext cx="560832" cy="219456"/>
          </a:xfrm>
          <a:prstGeom prst="rect">
            <a:avLst/>
          </a:prstGeom>
        </p:spPr>
        <p:txBody>
          <a:bodyPr lIns="0" tIns="60949" rIns="0" bIns="60949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pPr defTabSz="914363"/>
            <a:fld id="{727B4C2D-45E2-4621-8491-2995EB46A674}" type="slidenum">
              <a:rPr lang="en-US" smtClean="0"/>
              <a:pPr defTabSz="914363"/>
              <a:t>‹#›</a:t>
            </a:fld>
            <a:endParaRPr lang="en-US"/>
          </a:p>
        </p:txBody>
      </p:sp>
      <p:sp>
        <p:nvSpPr>
          <p:cNvPr id="12" name="Freeform: Shape 11"/>
          <p:cNvSpPr/>
          <p:nvPr userDrawn="1"/>
        </p:nvSpPr>
        <p:spPr>
          <a:xfrm>
            <a:off x="0" y="6515100"/>
            <a:ext cx="12192000" cy="342900"/>
          </a:xfrm>
          <a:custGeom>
            <a:avLst/>
            <a:gdLst>
              <a:gd name="connsiteX0" fmla="*/ 12192000 w 12192000"/>
              <a:gd name="connsiteY0" fmla="*/ 0 h 342900"/>
              <a:gd name="connsiteX1" fmla="*/ 12192000 w 12192000"/>
              <a:gd name="connsiteY1" fmla="*/ 342900 h 342900"/>
              <a:gd name="connsiteX2" fmla="*/ 0 w 12192000"/>
              <a:gd name="connsiteY2" fmla="*/ 342900 h 342900"/>
              <a:gd name="connsiteX3" fmla="*/ 0 w 12192000"/>
              <a:gd name="connsiteY3" fmla="*/ 260092 h 34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900">
                <a:moveTo>
                  <a:pt x="12192000" y="0"/>
                </a:moveTo>
                <a:lnTo>
                  <a:pt x="12192000" y="342900"/>
                </a:lnTo>
                <a:lnTo>
                  <a:pt x="0" y="342900"/>
                </a:lnTo>
                <a:lnTo>
                  <a:pt x="0" y="260092"/>
                </a:lnTo>
                <a:close/>
              </a:path>
            </a:pathLst>
          </a:custGeom>
          <a:solidFill>
            <a:schemeClr val="accent1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800">
                <a:solidFill>
                  <a:schemeClr val="bg1">
                    <a:lumMod val="75000"/>
                  </a:schemeClr>
                </a:solidFill>
              </a:rPr>
              <a:t>©Valorem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508000" y="6162485"/>
            <a:ext cx="400543" cy="400543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4038600" y="6253029"/>
            <a:ext cx="4114800" cy="2194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82364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7" r:id="rId2"/>
    <p:sldLayoutId id="2147483662" r:id="rId3"/>
    <p:sldLayoutId id="2147483663" r:id="rId4"/>
    <p:sldLayoutId id="2147483671" r:id="rId5"/>
    <p:sldLayoutId id="2147483665" r:id="rId6"/>
    <p:sldLayoutId id="2147483666" r:id="rId7"/>
    <p:sldLayoutId id="2147483668" r:id="rId8"/>
    <p:sldLayoutId id="2147483669" r:id="rId9"/>
  </p:sldLayoutIdLst>
  <p:transition>
    <p:fade/>
  </p:transition>
  <p:hf hdr="0" dt="0"/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0" baseline="0" dirty="0" smtClean="0">
          <a:ln w="3175">
            <a:noFill/>
          </a:ln>
          <a:solidFill>
            <a:schemeClr val="accent2"/>
          </a:solidFill>
          <a:effectLst/>
          <a:latin typeface="+mj-lt"/>
          <a:ea typeface="+mn-ea"/>
          <a:cs typeface="Segoe UI" panose="020B0502040204020203" pitchFamily="34" charset="0"/>
        </a:defRPr>
      </a:lvl1pPr>
    </p:titleStyle>
    <p:bodyStyle>
      <a:lvl1pPr marL="339725" marR="0" indent="-339725" algn="l" defTabSz="9143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80000"/>
        <a:buFont typeface="Arial" pitchFamily="34" charset="0"/>
        <a:buChar char="•"/>
        <a:tabLst/>
        <a:defRPr sz="3600" kern="1200" spc="-70" baseline="0">
          <a:solidFill>
            <a:schemeClr val="tx2"/>
          </a:solidFill>
          <a:latin typeface="+mj-lt"/>
          <a:ea typeface="+mn-ea"/>
          <a:cs typeface="+mn-cs"/>
        </a:defRPr>
      </a:lvl1pPr>
      <a:lvl2pPr marL="573088" marR="0" indent="-233363" algn="l" defTabSz="9143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400" kern="1200" spc="0" baseline="0">
          <a:solidFill>
            <a:schemeClr val="tx2"/>
          </a:solidFill>
          <a:latin typeface="+mn-lt"/>
          <a:ea typeface="+mn-ea"/>
          <a:cs typeface="+mn-cs"/>
        </a:defRPr>
      </a:lvl2pPr>
      <a:lvl3pPr marL="798513" marR="0" indent="-225425" algn="l" defTabSz="9143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798513" algn="l"/>
        </a:tabLst>
        <a:defRPr sz="2400" kern="1200" spc="0" baseline="0">
          <a:solidFill>
            <a:schemeClr val="tx2"/>
          </a:solidFill>
          <a:latin typeface="+mn-lt"/>
          <a:ea typeface="+mn-ea"/>
          <a:cs typeface="+mn-cs"/>
        </a:defRPr>
      </a:lvl3pPr>
      <a:lvl4pPr marL="1030288" marR="0" indent="-231775" algn="l" defTabSz="9143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000" kern="1200" spc="0" baseline="0">
          <a:solidFill>
            <a:schemeClr val="tx2"/>
          </a:solidFill>
          <a:latin typeface="+mn-lt"/>
          <a:ea typeface="+mn-ea"/>
          <a:cs typeface="+mn-cs"/>
        </a:defRPr>
      </a:lvl4pPr>
      <a:lvl5pPr marL="1255713" marR="0" indent="-225425" algn="l" defTabSz="9143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1255713" algn="l"/>
        </a:tabLst>
        <a:defRPr sz="2000" kern="1200" spc="0" baseline="0">
          <a:solidFill>
            <a:schemeClr val="tx2"/>
          </a:solidFill>
          <a:latin typeface="+mn-lt"/>
          <a:ea typeface="+mn-ea"/>
          <a:cs typeface="+mn-cs"/>
        </a:defRPr>
      </a:lvl5pPr>
      <a:lvl6pPr marL="2514499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92">
          <p15:clr>
            <a:srgbClr val="F26B43"/>
          </p15:clr>
        </p15:guide>
        <p15:guide id="2" pos="320">
          <p15:clr>
            <a:srgbClr val="F26B43"/>
          </p15:clr>
        </p15:guide>
        <p15:guide id="3" pos="7360">
          <p15:clr>
            <a:srgbClr val="F26B43"/>
          </p15:clr>
        </p15:guide>
        <p15:guide id="4" orient="horz" pos="179">
          <p15:clr>
            <a:srgbClr val="F26B43"/>
          </p15:clr>
        </p15:guide>
        <p15:guide id="5" orient="horz" pos="906">
          <p15:clr>
            <a:srgbClr val="F26B43"/>
          </p15:clr>
        </p15:guide>
        <p15:guide id="6" orient="horz" pos="3912">
          <p15:clr>
            <a:srgbClr val="F26B43"/>
          </p15:clr>
        </p15:guide>
        <p15:guide id="7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5463" y="3099161"/>
            <a:ext cx="9021433" cy="1477328"/>
          </a:xfrm>
        </p:spPr>
        <p:txBody>
          <a:bodyPr/>
          <a:lstStyle/>
          <a:p>
            <a:r>
              <a:rPr lang="en-US" dirty="0" smtClean="0">
                <a:latin typeface="Segoe UI Light"/>
                <a:cs typeface="Segoe UI Light"/>
              </a:rPr>
              <a:t>Predicting Project Completion Time</a:t>
            </a:r>
            <a:br>
              <a:rPr lang="en-US" dirty="0" smtClean="0">
                <a:latin typeface="Segoe UI Light"/>
                <a:cs typeface="Segoe UI Light"/>
              </a:rPr>
            </a:br>
            <a:r>
              <a:rPr lang="en-US" dirty="0" smtClean="0">
                <a:latin typeface="Segoe UI Light"/>
                <a:cs typeface="Segoe UI Light"/>
              </a:rPr>
              <a:t>Microsoft DCX</a:t>
            </a:r>
            <a:endParaRPr lang="en-US" sz="4800" dirty="0">
              <a:latin typeface="Segoe UI Light"/>
              <a:cs typeface="Segoe UI Ligh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February 22</a:t>
            </a:r>
            <a:r>
              <a:rPr lang="en-US" baseline="30000" dirty="0" smtClean="0"/>
              <a:t>nd</a:t>
            </a:r>
            <a:r>
              <a:rPr lang="en-US" dirty="0" smtClean="0"/>
              <a:t>,</a:t>
            </a:r>
            <a:r>
              <a:rPr lang="en-US" baseline="30000" dirty="0" smtClean="0"/>
              <a:t> </a:t>
            </a:r>
            <a:r>
              <a:rPr lang="en-US" dirty="0" smtClean="0"/>
              <a:t>2018</a:t>
            </a:r>
            <a:endParaRPr lang="en-US" dirty="0"/>
          </a:p>
        </p:txBody>
      </p:sp>
      <p:pic>
        <p:nvPicPr>
          <p:cNvPr id="2" name="Picture 2" descr="Image result for microsoft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8316" y="127591"/>
            <a:ext cx="3423684" cy="1259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320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363"/>
            <a:fld id="{727B4C2D-45E2-4621-8491-2995EB46A674}" type="slidenum">
              <a:rPr lang="en-US" smtClean="0"/>
              <a:pPr defTabSz="914363"/>
              <a:t>2</a:t>
            </a:fld>
            <a:endParaRPr lang="en-US"/>
          </a:p>
        </p:txBody>
      </p:sp>
      <p:sp>
        <p:nvSpPr>
          <p:cNvPr id="8" name="Freeform: Shape 7"/>
          <p:cNvSpPr/>
          <p:nvPr/>
        </p:nvSpPr>
        <p:spPr>
          <a:xfrm>
            <a:off x="0" y="6515100"/>
            <a:ext cx="12192000" cy="342900"/>
          </a:xfrm>
          <a:custGeom>
            <a:avLst/>
            <a:gdLst>
              <a:gd name="connsiteX0" fmla="*/ 12192000 w 12192000"/>
              <a:gd name="connsiteY0" fmla="*/ 0 h 342900"/>
              <a:gd name="connsiteX1" fmla="*/ 12192000 w 12192000"/>
              <a:gd name="connsiteY1" fmla="*/ 342900 h 342900"/>
              <a:gd name="connsiteX2" fmla="*/ 0 w 12192000"/>
              <a:gd name="connsiteY2" fmla="*/ 342900 h 342900"/>
              <a:gd name="connsiteX3" fmla="*/ 0 w 12192000"/>
              <a:gd name="connsiteY3" fmla="*/ 260092 h 34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900">
                <a:moveTo>
                  <a:pt x="12192000" y="0"/>
                </a:moveTo>
                <a:lnTo>
                  <a:pt x="12192000" y="342900"/>
                </a:lnTo>
                <a:lnTo>
                  <a:pt x="0" y="342900"/>
                </a:lnTo>
                <a:lnTo>
                  <a:pt x="0" y="260092"/>
                </a:lnTo>
                <a:close/>
              </a:path>
            </a:pathLst>
          </a:custGeom>
          <a:solidFill>
            <a:schemeClr val="accent1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800">
                <a:solidFill>
                  <a:schemeClr val="bg1">
                    <a:lumMod val="75000"/>
                  </a:schemeClr>
                </a:solidFill>
              </a:rPr>
              <a:t>©Valorem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000" y="6162485"/>
            <a:ext cx="400543" cy="400543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12" name="Rectangle: Rounded Corners 16"/>
          <p:cNvSpPr/>
          <p:nvPr/>
        </p:nvSpPr>
        <p:spPr>
          <a:xfrm>
            <a:off x="944880" y="3444874"/>
            <a:ext cx="7042357" cy="914400"/>
          </a:xfrm>
          <a:prstGeom prst="roundRect">
            <a:avLst>
              <a:gd name="adj" fmla="val 3689"/>
            </a:avLst>
          </a:prstGeom>
          <a:solidFill>
            <a:schemeClr val="bg2"/>
          </a:solidFill>
          <a:ln w="25400">
            <a:noFill/>
            <a:headEnd type="triangle"/>
            <a:tailEnd type="none"/>
          </a:ln>
          <a:effectLst>
            <a:outerShdw blurRad="50800" dist="12700" dir="5400000" algn="t" rotWithShape="0">
              <a:prstClr val="black">
                <a:alpha val="1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548640" tIns="91440" rIns="13716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en-US" sz="2000" dirty="0" smtClean="0">
                <a:solidFill>
                  <a:schemeClr val="tx2"/>
                </a:solidFill>
                <a:cs typeface="Segoe UI Semibold" panose="020B0702040204020203" pitchFamily="34" charset="0"/>
              </a:rPr>
              <a:t>Results</a:t>
            </a:r>
            <a:endParaRPr lang="en-US" sz="2000" dirty="0">
              <a:solidFill>
                <a:schemeClr val="tx2"/>
              </a:solidFill>
              <a:cs typeface="Segoe UI Semibold" panose="020B0702040204020203" pitchFamily="34" charset="0"/>
            </a:endParaRPr>
          </a:p>
        </p:txBody>
      </p:sp>
      <p:sp>
        <p:nvSpPr>
          <p:cNvPr id="15" name="Rectangle: Rounded Corners 24"/>
          <p:cNvSpPr/>
          <p:nvPr/>
        </p:nvSpPr>
        <p:spPr>
          <a:xfrm>
            <a:off x="944880" y="4448174"/>
            <a:ext cx="6845443" cy="914400"/>
          </a:xfrm>
          <a:prstGeom prst="roundRect">
            <a:avLst>
              <a:gd name="adj" fmla="val 3689"/>
            </a:avLst>
          </a:prstGeom>
          <a:solidFill>
            <a:schemeClr val="bg2"/>
          </a:solidFill>
          <a:ln w="25400">
            <a:noFill/>
            <a:headEnd type="triangle"/>
            <a:tailEnd type="none"/>
          </a:ln>
          <a:effectLst>
            <a:outerShdw blurRad="50800" dist="12700" dir="5400000" algn="t" rotWithShape="0">
              <a:prstClr val="black">
                <a:alpha val="1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548640" tIns="91440" rIns="13716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en-US" sz="2000" dirty="0" smtClean="0">
                <a:solidFill>
                  <a:schemeClr val="tx2"/>
                </a:solidFill>
                <a:cs typeface="Segoe UI Semibold" panose="020B0702040204020203" pitchFamily="34" charset="0"/>
              </a:rPr>
              <a:t>Recommended Next Steps</a:t>
            </a:r>
            <a:endParaRPr lang="en-US" sz="2000" dirty="0">
              <a:solidFill>
                <a:schemeClr val="tx2"/>
              </a:solidFill>
              <a:cs typeface="Segoe UI Semibold" panose="020B0702040204020203" pitchFamily="34" charset="0"/>
            </a:endParaRPr>
          </a:p>
        </p:txBody>
      </p:sp>
      <p:sp>
        <p:nvSpPr>
          <p:cNvPr id="16" name="Rectangle: Rounded Corners 25"/>
          <p:cNvSpPr/>
          <p:nvPr/>
        </p:nvSpPr>
        <p:spPr>
          <a:xfrm>
            <a:off x="944881" y="2441574"/>
            <a:ext cx="7208519" cy="914400"/>
          </a:xfrm>
          <a:prstGeom prst="roundRect">
            <a:avLst>
              <a:gd name="adj" fmla="val 3689"/>
            </a:avLst>
          </a:prstGeom>
          <a:solidFill>
            <a:schemeClr val="bg2"/>
          </a:solidFill>
          <a:ln w="25400">
            <a:noFill/>
            <a:headEnd type="triangle"/>
            <a:tailEnd type="none"/>
          </a:ln>
          <a:effectLst>
            <a:outerShdw blurRad="50800" dist="12700" dir="5400000" algn="t" rotWithShape="0">
              <a:prstClr val="black">
                <a:alpha val="1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548640" tIns="91440" rIns="13716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en-US" sz="2000" dirty="0" smtClean="0">
                <a:solidFill>
                  <a:schemeClr val="tx2"/>
                </a:solidFill>
                <a:cs typeface="Segoe UI Semibold" panose="020B0702040204020203" pitchFamily="34" charset="0"/>
              </a:rPr>
              <a:t>Methodology</a:t>
            </a:r>
            <a:endParaRPr lang="en-US" sz="2000" dirty="0">
              <a:solidFill>
                <a:schemeClr val="tx2"/>
              </a:solidFill>
              <a:cs typeface="Segoe UI Semibold" panose="020B0702040204020203" pitchFamily="34" charset="0"/>
            </a:endParaRPr>
          </a:p>
        </p:txBody>
      </p:sp>
      <p:sp>
        <p:nvSpPr>
          <p:cNvPr id="17" name="Rectangle: Rounded Corners 26"/>
          <p:cNvSpPr/>
          <p:nvPr/>
        </p:nvSpPr>
        <p:spPr>
          <a:xfrm>
            <a:off x="944880" y="1438274"/>
            <a:ext cx="7335628" cy="914400"/>
          </a:xfrm>
          <a:prstGeom prst="roundRect">
            <a:avLst>
              <a:gd name="adj" fmla="val 3689"/>
            </a:avLst>
          </a:prstGeom>
          <a:solidFill>
            <a:schemeClr val="bg2"/>
          </a:solidFill>
          <a:ln w="25400">
            <a:noFill/>
            <a:headEnd type="triangle"/>
            <a:tailEnd type="none"/>
          </a:ln>
          <a:effectLst>
            <a:outerShdw blurRad="50800" dist="12700" dir="5400000" algn="t" rotWithShape="0">
              <a:prstClr val="black">
                <a:alpha val="1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548640" tIns="91440" rIns="13716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en-US" sz="2000" dirty="0" smtClean="0">
                <a:solidFill>
                  <a:schemeClr val="tx2"/>
                </a:solidFill>
                <a:cs typeface="Segoe UI Semibold" panose="020B0702040204020203" pitchFamily="34" charset="0"/>
              </a:rPr>
              <a:t>Goal</a:t>
            </a:r>
            <a:endParaRPr lang="en-US" sz="2000" dirty="0">
              <a:solidFill>
                <a:schemeClr val="tx2"/>
              </a:solidFill>
              <a:cs typeface="Segoe UI Semibold" panose="020B0702040204020203" pitchFamily="34" charset="0"/>
            </a:endParaRPr>
          </a:p>
        </p:txBody>
      </p:sp>
      <p:sp>
        <p:nvSpPr>
          <p:cNvPr id="18" name="Freeform 98"/>
          <p:cNvSpPr>
            <a:spLocks/>
          </p:cNvSpPr>
          <p:nvPr/>
        </p:nvSpPr>
        <p:spPr bwMode="auto">
          <a:xfrm>
            <a:off x="660400" y="1730206"/>
            <a:ext cx="609600" cy="330536"/>
          </a:xfrm>
          <a:custGeom>
            <a:avLst/>
            <a:gdLst>
              <a:gd name="connsiteX0" fmla="*/ 1139825 w 3835401"/>
              <a:gd name="connsiteY0" fmla="*/ 1361546 h 2079626"/>
              <a:gd name="connsiteX1" fmla="*/ 413377 w 3835401"/>
              <a:gd name="connsiteY1" fmla="*/ 1547152 h 2079626"/>
              <a:gd name="connsiteX2" fmla="*/ 140674 w 3835401"/>
              <a:gd name="connsiteY2" fmla="*/ 1864211 h 2079626"/>
              <a:gd name="connsiteX3" fmla="*/ 126042 w 3835401"/>
              <a:gd name="connsiteY3" fmla="*/ 1957012 h 2079626"/>
              <a:gd name="connsiteX4" fmla="*/ 461033 w 3835401"/>
              <a:gd name="connsiteY4" fmla="*/ 1956966 h 2079626"/>
              <a:gd name="connsiteX5" fmla="*/ 2148822 w 3835401"/>
              <a:gd name="connsiteY5" fmla="*/ 1955700 h 2079626"/>
              <a:gd name="connsiteX6" fmla="*/ 2153416 w 3835401"/>
              <a:gd name="connsiteY6" fmla="*/ 1955865 h 2079626"/>
              <a:gd name="connsiteX7" fmla="*/ 2138930 w 3835401"/>
              <a:gd name="connsiteY7" fmla="*/ 1864211 h 2079626"/>
              <a:gd name="connsiteX8" fmla="*/ 1863234 w 3835401"/>
              <a:gd name="connsiteY8" fmla="*/ 1547152 h 2079626"/>
              <a:gd name="connsiteX9" fmla="*/ 1139825 w 3835401"/>
              <a:gd name="connsiteY9" fmla="*/ 1361546 h 2079626"/>
              <a:gd name="connsiteX10" fmla="*/ 2695632 w 3835401"/>
              <a:gd name="connsiteY10" fmla="*/ 1239838 h 2079626"/>
              <a:gd name="connsiteX11" fmla="*/ 3482832 w 3835401"/>
              <a:gd name="connsiteY11" fmla="*/ 1443699 h 2079626"/>
              <a:gd name="connsiteX12" fmla="*/ 3812368 w 3835401"/>
              <a:gd name="connsiteY12" fmla="*/ 1833499 h 2079626"/>
              <a:gd name="connsiteX13" fmla="*/ 3835344 w 3835401"/>
              <a:gd name="connsiteY13" fmla="*/ 1984924 h 2079626"/>
              <a:gd name="connsiteX14" fmla="*/ 3835400 w 3835401"/>
              <a:gd name="connsiteY14" fmla="*/ 1985060 h 2079626"/>
              <a:gd name="connsiteX15" fmla="*/ 3835380 w 3835401"/>
              <a:gd name="connsiteY15" fmla="*/ 1985160 h 2079626"/>
              <a:gd name="connsiteX16" fmla="*/ 3835401 w 3835401"/>
              <a:gd name="connsiteY16" fmla="*/ 1985302 h 2079626"/>
              <a:gd name="connsiteX17" fmla="*/ 3738141 w 3835401"/>
              <a:gd name="connsiteY17" fmla="*/ 2079626 h 2079626"/>
              <a:gd name="connsiteX18" fmla="*/ 3738136 w 3835401"/>
              <a:gd name="connsiteY18" fmla="*/ 2079625 h 2079626"/>
              <a:gd name="connsiteX19" fmla="*/ 3297752 w 3835401"/>
              <a:gd name="connsiteY19" fmla="*/ 2079625 h 2079626"/>
              <a:gd name="connsiteX20" fmla="*/ 2403934 w 3835401"/>
              <a:gd name="connsiteY20" fmla="*/ 2079625 h 2079626"/>
              <a:gd name="connsiteX21" fmla="*/ 2343150 w 3835401"/>
              <a:gd name="connsiteY21" fmla="*/ 2018615 h 2079626"/>
              <a:gd name="connsiteX22" fmla="*/ 2403934 w 3835401"/>
              <a:gd name="connsiteY22" fmla="*/ 1957606 h 2079626"/>
              <a:gd name="connsiteX23" fmla="*/ 3699348 w 3835401"/>
              <a:gd name="connsiteY23" fmla="*/ 1957606 h 2079626"/>
              <a:gd name="connsiteX24" fmla="*/ 3709531 w 3835401"/>
              <a:gd name="connsiteY24" fmla="*/ 1957606 h 2079626"/>
              <a:gd name="connsiteX25" fmla="*/ 3688276 w 3835401"/>
              <a:gd name="connsiteY25" fmla="*/ 1849236 h 2079626"/>
              <a:gd name="connsiteX26" fmla="*/ 3419005 w 3835401"/>
              <a:gd name="connsiteY26" fmla="*/ 1547152 h 2079626"/>
              <a:gd name="connsiteX27" fmla="*/ 2695632 w 3835401"/>
              <a:gd name="connsiteY27" fmla="*/ 1361546 h 2079626"/>
              <a:gd name="connsiteX28" fmla="*/ 2115109 w 3835401"/>
              <a:gd name="connsiteY28" fmla="*/ 1474127 h 2079626"/>
              <a:gd name="connsiteX29" fmla="*/ 2033046 w 3835401"/>
              <a:gd name="connsiteY29" fmla="*/ 1440657 h 2079626"/>
              <a:gd name="connsiteX30" fmla="*/ 2066479 w 3835401"/>
              <a:gd name="connsiteY30" fmla="*/ 1361546 h 2079626"/>
              <a:gd name="connsiteX31" fmla="*/ 2695632 w 3835401"/>
              <a:gd name="connsiteY31" fmla="*/ 1239838 h 2079626"/>
              <a:gd name="connsiteX32" fmla="*/ 1139825 w 3835401"/>
              <a:gd name="connsiteY32" fmla="*/ 1239838 h 2079626"/>
              <a:gd name="connsiteX33" fmla="*/ 1927064 w 3835401"/>
              <a:gd name="connsiteY33" fmla="*/ 1443699 h 2079626"/>
              <a:gd name="connsiteX34" fmla="*/ 2256616 w 3835401"/>
              <a:gd name="connsiteY34" fmla="*/ 1833499 h 2079626"/>
              <a:gd name="connsiteX35" fmla="*/ 2276886 w 3835401"/>
              <a:gd name="connsiteY35" fmla="*/ 1967088 h 2079626"/>
              <a:gd name="connsiteX36" fmla="*/ 2280904 w 3835401"/>
              <a:gd name="connsiteY36" fmla="*/ 1972270 h 2079626"/>
              <a:gd name="connsiteX37" fmla="*/ 2279650 w 3835401"/>
              <a:gd name="connsiteY37" fmla="*/ 1984520 h 2079626"/>
              <a:gd name="connsiteX38" fmla="*/ 2279582 w 3835401"/>
              <a:gd name="connsiteY38" fmla="*/ 1984854 h 2079626"/>
              <a:gd name="connsiteX39" fmla="*/ 2279650 w 3835401"/>
              <a:gd name="connsiteY39" fmla="*/ 1985302 h 2079626"/>
              <a:gd name="connsiteX40" fmla="*/ 2185425 w 3835401"/>
              <a:gd name="connsiteY40" fmla="*/ 2079626 h 2079626"/>
              <a:gd name="connsiteX41" fmla="*/ 2185425 w 3835401"/>
              <a:gd name="connsiteY41" fmla="*/ 2079254 h 2079626"/>
              <a:gd name="connsiteX42" fmla="*/ 94150 w 3835401"/>
              <a:gd name="connsiteY42" fmla="*/ 2079254 h 2079626"/>
              <a:gd name="connsiteX43" fmla="*/ 7466 w 3835401"/>
              <a:gd name="connsiteY43" fmla="*/ 2021239 h 2079626"/>
              <a:gd name="connsiteX44" fmla="*/ 159 w 3835401"/>
              <a:gd name="connsiteY44" fmla="*/ 1985302 h 2079626"/>
              <a:gd name="connsiteX45" fmla="*/ 0 w 3835401"/>
              <a:gd name="connsiteY45" fmla="*/ 1985302 h 2079626"/>
              <a:gd name="connsiteX46" fmla="*/ 68 w 3835401"/>
              <a:gd name="connsiteY46" fmla="*/ 1984854 h 2079626"/>
              <a:gd name="connsiteX47" fmla="*/ 0 w 3835401"/>
              <a:gd name="connsiteY47" fmla="*/ 1984520 h 2079626"/>
              <a:gd name="connsiteX48" fmla="*/ 119 w 3835401"/>
              <a:gd name="connsiteY48" fmla="*/ 1984520 h 2079626"/>
              <a:gd name="connsiteX49" fmla="*/ 22987 w 3835401"/>
              <a:gd name="connsiteY49" fmla="*/ 1833499 h 2079626"/>
              <a:gd name="connsiteX50" fmla="*/ 349547 w 3835401"/>
              <a:gd name="connsiteY50" fmla="*/ 1443699 h 2079626"/>
              <a:gd name="connsiteX51" fmla="*/ 1139825 w 3835401"/>
              <a:gd name="connsiteY51" fmla="*/ 1239838 h 2079626"/>
              <a:gd name="connsiteX52" fmla="*/ 2728913 w 3835401"/>
              <a:gd name="connsiteY52" fmla="*/ 122238 h 2079626"/>
              <a:gd name="connsiteX53" fmla="*/ 2279650 w 3835401"/>
              <a:gd name="connsiteY53" fmla="*/ 573088 h 2079626"/>
              <a:gd name="connsiteX54" fmla="*/ 2728913 w 3835401"/>
              <a:gd name="connsiteY54" fmla="*/ 1023938 h 2079626"/>
              <a:gd name="connsiteX55" fmla="*/ 3178176 w 3835401"/>
              <a:gd name="connsiteY55" fmla="*/ 573088 h 2079626"/>
              <a:gd name="connsiteX56" fmla="*/ 2728913 w 3835401"/>
              <a:gd name="connsiteY56" fmla="*/ 122238 h 2079626"/>
              <a:gd name="connsiteX57" fmla="*/ 1096963 w 3835401"/>
              <a:gd name="connsiteY57" fmla="*/ 122238 h 2079626"/>
              <a:gd name="connsiteX58" fmla="*/ 647700 w 3835401"/>
              <a:gd name="connsiteY58" fmla="*/ 573088 h 2079626"/>
              <a:gd name="connsiteX59" fmla="*/ 1096963 w 3835401"/>
              <a:gd name="connsiteY59" fmla="*/ 1023938 h 2079626"/>
              <a:gd name="connsiteX60" fmla="*/ 1546226 w 3835401"/>
              <a:gd name="connsiteY60" fmla="*/ 573088 h 2079626"/>
              <a:gd name="connsiteX61" fmla="*/ 1096963 w 3835401"/>
              <a:gd name="connsiteY61" fmla="*/ 122238 h 2079626"/>
              <a:gd name="connsiteX62" fmla="*/ 2728913 w 3835401"/>
              <a:gd name="connsiteY62" fmla="*/ 0 h 2079626"/>
              <a:gd name="connsiteX63" fmla="*/ 3300413 w 3835401"/>
              <a:gd name="connsiteY63" fmla="*/ 572294 h 2079626"/>
              <a:gd name="connsiteX64" fmla="*/ 2728913 w 3835401"/>
              <a:gd name="connsiteY64" fmla="*/ 1144588 h 2079626"/>
              <a:gd name="connsiteX65" fmla="*/ 2157413 w 3835401"/>
              <a:gd name="connsiteY65" fmla="*/ 572294 h 2079626"/>
              <a:gd name="connsiteX66" fmla="*/ 2728913 w 3835401"/>
              <a:gd name="connsiteY66" fmla="*/ 0 h 2079626"/>
              <a:gd name="connsiteX67" fmla="*/ 1096963 w 3835401"/>
              <a:gd name="connsiteY67" fmla="*/ 0 h 2079626"/>
              <a:gd name="connsiteX68" fmla="*/ 1668463 w 3835401"/>
              <a:gd name="connsiteY68" fmla="*/ 572294 h 2079626"/>
              <a:gd name="connsiteX69" fmla="*/ 1096963 w 3835401"/>
              <a:gd name="connsiteY69" fmla="*/ 1144588 h 2079626"/>
              <a:gd name="connsiteX70" fmla="*/ 525463 w 3835401"/>
              <a:gd name="connsiteY70" fmla="*/ 572294 h 2079626"/>
              <a:gd name="connsiteX71" fmla="*/ 1096963 w 3835401"/>
              <a:gd name="connsiteY71" fmla="*/ 0 h 2079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3835401" h="2079626">
                <a:moveTo>
                  <a:pt x="1139825" y="1361546"/>
                </a:moveTo>
                <a:cubicBezTo>
                  <a:pt x="863228" y="1361546"/>
                  <a:pt x="607907" y="1428486"/>
                  <a:pt x="413377" y="1547152"/>
                </a:cubicBezTo>
                <a:cubicBezTo>
                  <a:pt x="272039" y="1636151"/>
                  <a:pt x="178573" y="1745688"/>
                  <a:pt x="140674" y="1864211"/>
                </a:cubicBezTo>
                <a:lnTo>
                  <a:pt x="126042" y="1957012"/>
                </a:lnTo>
                <a:lnTo>
                  <a:pt x="461033" y="1956966"/>
                </a:lnTo>
                <a:cubicBezTo>
                  <a:pt x="1944042" y="1956544"/>
                  <a:pt x="2071827" y="1953663"/>
                  <a:pt x="2148822" y="1955700"/>
                </a:cubicBezTo>
                <a:lnTo>
                  <a:pt x="2153416" y="1955865"/>
                </a:lnTo>
                <a:lnTo>
                  <a:pt x="2138930" y="1864211"/>
                </a:lnTo>
                <a:cubicBezTo>
                  <a:pt x="2100888" y="1745688"/>
                  <a:pt x="2006852" y="1636151"/>
                  <a:pt x="1863234" y="1547152"/>
                </a:cubicBezTo>
                <a:cubicBezTo>
                  <a:pt x="1671744" y="1428486"/>
                  <a:pt x="1413383" y="1361546"/>
                  <a:pt x="1139825" y="1361546"/>
                </a:cubicBezTo>
                <a:close/>
                <a:moveTo>
                  <a:pt x="2695632" y="1239838"/>
                </a:moveTo>
                <a:cubicBezTo>
                  <a:pt x="2990452" y="1239838"/>
                  <a:pt x="3270076" y="1312863"/>
                  <a:pt x="3482832" y="1443699"/>
                </a:cubicBezTo>
                <a:cubicBezTo>
                  <a:pt x="3653798" y="1550955"/>
                  <a:pt x="3766635" y="1685595"/>
                  <a:pt x="3812368" y="1833499"/>
                </a:cubicBezTo>
                <a:lnTo>
                  <a:pt x="3835344" y="1984924"/>
                </a:lnTo>
                <a:lnTo>
                  <a:pt x="3835400" y="1985060"/>
                </a:lnTo>
                <a:lnTo>
                  <a:pt x="3835380" y="1985160"/>
                </a:lnTo>
                <a:lnTo>
                  <a:pt x="3835401" y="1985302"/>
                </a:lnTo>
                <a:cubicBezTo>
                  <a:pt x="3835401" y="2037028"/>
                  <a:pt x="3792850" y="2079626"/>
                  <a:pt x="3738141" y="2079626"/>
                </a:cubicBezTo>
                <a:lnTo>
                  <a:pt x="3738136" y="2079625"/>
                </a:lnTo>
                <a:lnTo>
                  <a:pt x="3297752" y="2079625"/>
                </a:lnTo>
                <a:cubicBezTo>
                  <a:pt x="2403934" y="2079625"/>
                  <a:pt x="2403934" y="2079625"/>
                  <a:pt x="2403934" y="2079625"/>
                </a:cubicBezTo>
                <a:cubicBezTo>
                  <a:pt x="2370503" y="2079625"/>
                  <a:pt x="2343150" y="2052171"/>
                  <a:pt x="2343150" y="2018615"/>
                </a:cubicBezTo>
                <a:cubicBezTo>
                  <a:pt x="2343150" y="1985060"/>
                  <a:pt x="2370503" y="1957606"/>
                  <a:pt x="2403934" y="1957606"/>
                </a:cubicBezTo>
                <a:cubicBezTo>
                  <a:pt x="3390916" y="1957606"/>
                  <a:pt x="3637662" y="1957606"/>
                  <a:pt x="3699348" y="1957606"/>
                </a:cubicBezTo>
                <a:lnTo>
                  <a:pt x="3709531" y="1957606"/>
                </a:lnTo>
                <a:lnTo>
                  <a:pt x="3688276" y="1849236"/>
                </a:lnTo>
                <a:cubicBezTo>
                  <a:pt x="3648099" y="1736560"/>
                  <a:pt x="3555778" y="1631587"/>
                  <a:pt x="3419005" y="1547152"/>
                </a:cubicBezTo>
                <a:cubicBezTo>
                  <a:pt x="3224485" y="1428486"/>
                  <a:pt x="2969176" y="1361546"/>
                  <a:pt x="2695632" y="1361546"/>
                </a:cubicBezTo>
                <a:cubicBezTo>
                  <a:pt x="2485914" y="1361546"/>
                  <a:pt x="2285315" y="1401102"/>
                  <a:pt x="2115109" y="1474127"/>
                </a:cubicBezTo>
                <a:cubicBezTo>
                  <a:pt x="2084715" y="1486297"/>
                  <a:pt x="2048243" y="1471084"/>
                  <a:pt x="2033046" y="1440657"/>
                </a:cubicBezTo>
                <a:cubicBezTo>
                  <a:pt x="2020888" y="1410230"/>
                  <a:pt x="2036085" y="1373717"/>
                  <a:pt x="2066479" y="1361546"/>
                </a:cubicBezTo>
                <a:cubicBezTo>
                  <a:pt x="2251882" y="1282436"/>
                  <a:pt x="2467678" y="1239838"/>
                  <a:pt x="2695632" y="1239838"/>
                </a:cubicBezTo>
                <a:close/>
                <a:moveTo>
                  <a:pt x="1139825" y="1239838"/>
                </a:moveTo>
                <a:cubicBezTo>
                  <a:pt x="1434660" y="1239838"/>
                  <a:pt x="1717337" y="1312863"/>
                  <a:pt x="1927064" y="1443699"/>
                </a:cubicBezTo>
                <a:cubicBezTo>
                  <a:pt x="2098038" y="1550955"/>
                  <a:pt x="2210881" y="1685595"/>
                  <a:pt x="2256616" y="1833499"/>
                </a:cubicBezTo>
                <a:lnTo>
                  <a:pt x="2276886" y="1967088"/>
                </a:lnTo>
                <a:lnTo>
                  <a:pt x="2280904" y="1972270"/>
                </a:lnTo>
                <a:cubicBezTo>
                  <a:pt x="2280861" y="1975446"/>
                  <a:pt x="2279650" y="1979426"/>
                  <a:pt x="2279650" y="1984520"/>
                </a:cubicBezTo>
                <a:lnTo>
                  <a:pt x="2279582" y="1984854"/>
                </a:lnTo>
                <a:lnTo>
                  <a:pt x="2279650" y="1985302"/>
                </a:lnTo>
                <a:cubicBezTo>
                  <a:pt x="2279650" y="2037028"/>
                  <a:pt x="2237097" y="2079626"/>
                  <a:pt x="2185425" y="2079626"/>
                </a:cubicBezTo>
                <a:lnTo>
                  <a:pt x="2185425" y="2079254"/>
                </a:lnTo>
                <a:lnTo>
                  <a:pt x="94150" y="2079254"/>
                </a:lnTo>
                <a:cubicBezTo>
                  <a:pt x="55510" y="2079254"/>
                  <a:pt x="21871" y="2055189"/>
                  <a:pt x="7466" y="2021239"/>
                </a:cubicBezTo>
                <a:lnTo>
                  <a:pt x="159" y="1985302"/>
                </a:lnTo>
                <a:lnTo>
                  <a:pt x="0" y="1985302"/>
                </a:lnTo>
                <a:lnTo>
                  <a:pt x="68" y="1984854"/>
                </a:lnTo>
                <a:lnTo>
                  <a:pt x="0" y="1984520"/>
                </a:lnTo>
                <a:lnTo>
                  <a:pt x="119" y="1984520"/>
                </a:lnTo>
                <a:lnTo>
                  <a:pt x="22987" y="1833499"/>
                </a:lnTo>
                <a:cubicBezTo>
                  <a:pt x="68580" y="1685595"/>
                  <a:pt x="180853" y="1550955"/>
                  <a:pt x="349547" y="1443699"/>
                </a:cubicBezTo>
                <a:cubicBezTo>
                  <a:pt x="562314" y="1312863"/>
                  <a:pt x="841951" y="1239838"/>
                  <a:pt x="1139825" y="1239838"/>
                </a:cubicBezTo>
                <a:close/>
                <a:moveTo>
                  <a:pt x="2728913" y="122238"/>
                </a:moveTo>
                <a:cubicBezTo>
                  <a:pt x="2480792" y="122238"/>
                  <a:pt x="2279650" y="324090"/>
                  <a:pt x="2279650" y="573088"/>
                </a:cubicBezTo>
                <a:cubicBezTo>
                  <a:pt x="2279650" y="822086"/>
                  <a:pt x="2480792" y="1023938"/>
                  <a:pt x="2728913" y="1023938"/>
                </a:cubicBezTo>
                <a:cubicBezTo>
                  <a:pt x="2977034" y="1023938"/>
                  <a:pt x="3178176" y="822086"/>
                  <a:pt x="3178176" y="573088"/>
                </a:cubicBezTo>
                <a:cubicBezTo>
                  <a:pt x="3178176" y="324090"/>
                  <a:pt x="2977034" y="122238"/>
                  <a:pt x="2728913" y="122238"/>
                </a:cubicBezTo>
                <a:close/>
                <a:moveTo>
                  <a:pt x="1096963" y="122238"/>
                </a:moveTo>
                <a:cubicBezTo>
                  <a:pt x="848842" y="122238"/>
                  <a:pt x="647700" y="324090"/>
                  <a:pt x="647700" y="573088"/>
                </a:cubicBezTo>
                <a:cubicBezTo>
                  <a:pt x="647700" y="822086"/>
                  <a:pt x="848842" y="1023938"/>
                  <a:pt x="1096963" y="1023938"/>
                </a:cubicBezTo>
                <a:cubicBezTo>
                  <a:pt x="1345084" y="1023938"/>
                  <a:pt x="1546226" y="822086"/>
                  <a:pt x="1546226" y="573088"/>
                </a:cubicBezTo>
                <a:cubicBezTo>
                  <a:pt x="1546226" y="324090"/>
                  <a:pt x="1345084" y="122238"/>
                  <a:pt x="1096963" y="122238"/>
                </a:cubicBezTo>
                <a:close/>
                <a:moveTo>
                  <a:pt x="2728913" y="0"/>
                </a:moveTo>
                <a:cubicBezTo>
                  <a:pt x="3044544" y="0"/>
                  <a:pt x="3300413" y="256225"/>
                  <a:pt x="3300413" y="572294"/>
                </a:cubicBezTo>
                <a:cubicBezTo>
                  <a:pt x="3300413" y="888363"/>
                  <a:pt x="3044544" y="1144588"/>
                  <a:pt x="2728913" y="1144588"/>
                </a:cubicBezTo>
                <a:cubicBezTo>
                  <a:pt x="2413282" y="1144588"/>
                  <a:pt x="2157413" y="888363"/>
                  <a:pt x="2157413" y="572294"/>
                </a:cubicBezTo>
                <a:cubicBezTo>
                  <a:pt x="2157413" y="256225"/>
                  <a:pt x="2413282" y="0"/>
                  <a:pt x="2728913" y="0"/>
                </a:cubicBezTo>
                <a:close/>
                <a:moveTo>
                  <a:pt x="1096963" y="0"/>
                </a:moveTo>
                <a:cubicBezTo>
                  <a:pt x="1412594" y="0"/>
                  <a:pt x="1668463" y="256225"/>
                  <a:pt x="1668463" y="572294"/>
                </a:cubicBezTo>
                <a:cubicBezTo>
                  <a:pt x="1668463" y="888363"/>
                  <a:pt x="1412594" y="1144588"/>
                  <a:pt x="1096963" y="1144588"/>
                </a:cubicBezTo>
                <a:cubicBezTo>
                  <a:pt x="781332" y="1144588"/>
                  <a:pt x="525463" y="888363"/>
                  <a:pt x="525463" y="572294"/>
                </a:cubicBezTo>
                <a:cubicBezTo>
                  <a:pt x="525463" y="256225"/>
                  <a:pt x="781332" y="0"/>
                  <a:pt x="109696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/>
              <a:t> </a:t>
            </a:r>
          </a:p>
        </p:txBody>
      </p:sp>
      <p:sp>
        <p:nvSpPr>
          <p:cNvPr id="19" name="Freeform 98"/>
          <p:cNvSpPr>
            <a:spLocks/>
          </p:cNvSpPr>
          <p:nvPr/>
        </p:nvSpPr>
        <p:spPr bwMode="auto">
          <a:xfrm>
            <a:off x="660400" y="2733506"/>
            <a:ext cx="609600" cy="330536"/>
          </a:xfrm>
          <a:custGeom>
            <a:avLst/>
            <a:gdLst>
              <a:gd name="connsiteX0" fmla="*/ 1139825 w 3835401"/>
              <a:gd name="connsiteY0" fmla="*/ 1361546 h 2079626"/>
              <a:gd name="connsiteX1" fmla="*/ 413377 w 3835401"/>
              <a:gd name="connsiteY1" fmla="*/ 1547152 h 2079626"/>
              <a:gd name="connsiteX2" fmla="*/ 140674 w 3835401"/>
              <a:gd name="connsiteY2" fmla="*/ 1864211 h 2079626"/>
              <a:gd name="connsiteX3" fmla="*/ 126042 w 3835401"/>
              <a:gd name="connsiteY3" fmla="*/ 1957012 h 2079626"/>
              <a:gd name="connsiteX4" fmla="*/ 461033 w 3835401"/>
              <a:gd name="connsiteY4" fmla="*/ 1956966 h 2079626"/>
              <a:gd name="connsiteX5" fmla="*/ 2148822 w 3835401"/>
              <a:gd name="connsiteY5" fmla="*/ 1955700 h 2079626"/>
              <a:gd name="connsiteX6" fmla="*/ 2153416 w 3835401"/>
              <a:gd name="connsiteY6" fmla="*/ 1955865 h 2079626"/>
              <a:gd name="connsiteX7" fmla="*/ 2138930 w 3835401"/>
              <a:gd name="connsiteY7" fmla="*/ 1864211 h 2079626"/>
              <a:gd name="connsiteX8" fmla="*/ 1863234 w 3835401"/>
              <a:gd name="connsiteY8" fmla="*/ 1547152 h 2079626"/>
              <a:gd name="connsiteX9" fmla="*/ 1139825 w 3835401"/>
              <a:gd name="connsiteY9" fmla="*/ 1361546 h 2079626"/>
              <a:gd name="connsiteX10" fmla="*/ 2695632 w 3835401"/>
              <a:gd name="connsiteY10" fmla="*/ 1239838 h 2079626"/>
              <a:gd name="connsiteX11" fmla="*/ 3482832 w 3835401"/>
              <a:gd name="connsiteY11" fmla="*/ 1443699 h 2079626"/>
              <a:gd name="connsiteX12" fmla="*/ 3812368 w 3835401"/>
              <a:gd name="connsiteY12" fmla="*/ 1833499 h 2079626"/>
              <a:gd name="connsiteX13" fmla="*/ 3835344 w 3835401"/>
              <a:gd name="connsiteY13" fmla="*/ 1984924 h 2079626"/>
              <a:gd name="connsiteX14" fmla="*/ 3835400 w 3835401"/>
              <a:gd name="connsiteY14" fmla="*/ 1985060 h 2079626"/>
              <a:gd name="connsiteX15" fmla="*/ 3835380 w 3835401"/>
              <a:gd name="connsiteY15" fmla="*/ 1985160 h 2079626"/>
              <a:gd name="connsiteX16" fmla="*/ 3835401 w 3835401"/>
              <a:gd name="connsiteY16" fmla="*/ 1985302 h 2079626"/>
              <a:gd name="connsiteX17" fmla="*/ 3738141 w 3835401"/>
              <a:gd name="connsiteY17" fmla="*/ 2079626 h 2079626"/>
              <a:gd name="connsiteX18" fmla="*/ 3738136 w 3835401"/>
              <a:gd name="connsiteY18" fmla="*/ 2079625 h 2079626"/>
              <a:gd name="connsiteX19" fmla="*/ 3297752 w 3835401"/>
              <a:gd name="connsiteY19" fmla="*/ 2079625 h 2079626"/>
              <a:gd name="connsiteX20" fmla="*/ 2403934 w 3835401"/>
              <a:gd name="connsiteY20" fmla="*/ 2079625 h 2079626"/>
              <a:gd name="connsiteX21" fmla="*/ 2343150 w 3835401"/>
              <a:gd name="connsiteY21" fmla="*/ 2018615 h 2079626"/>
              <a:gd name="connsiteX22" fmla="*/ 2403934 w 3835401"/>
              <a:gd name="connsiteY22" fmla="*/ 1957606 h 2079626"/>
              <a:gd name="connsiteX23" fmla="*/ 3699348 w 3835401"/>
              <a:gd name="connsiteY23" fmla="*/ 1957606 h 2079626"/>
              <a:gd name="connsiteX24" fmla="*/ 3709531 w 3835401"/>
              <a:gd name="connsiteY24" fmla="*/ 1957606 h 2079626"/>
              <a:gd name="connsiteX25" fmla="*/ 3688276 w 3835401"/>
              <a:gd name="connsiteY25" fmla="*/ 1849236 h 2079626"/>
              <a:gd name="connsiteX26" fmla="*/ 3419005 w 3835401"/>
              <a:gd name="connsiteY26" fmla="*/ 1547152 h 2079626"/>
              <a:gd name="connsiteX27" fmla="*/ 2695632 w 3835401"/>
              <a:gd name="connsiteY27" fmla="*/ 1361546 h 2079626"/>
              <a:gd name="connsiteX28" fmla="*/ 2115109 w 3835401"/>
              <a:gd name="connsiteY28" fmla="*/ 1474127 h 2079626"/>
              <a:gd name="connsiteX29" fmla="*/ 2033046 w 3835401"/>
              <a:gd name="connsiteY29" fmla="*/ 1440657 h 2079626"/>
              <a:gd name="connsiteX30" fmla="*/ 2066479 w 3835401"/>
              <a:gd name="connsiteY30" fmla="*/ 1361546 h 2079626"/>
              <a:gd name="connsiteX31" fmla="*/ 2695632 w 3835401"/>
              <a:gd name="connsiteY31" fmla="*/ 1239838 h 2079626"/>
              <a:gd name="connsiteX32" fmla="*/ 1139825 w 3835401"/>
              <a:gd name="connsiteY32" fmla="*/ 1239838 h 2079626"/>
              <a:gd name="connsiteX33" fmla="*/ 1927064 w 3835401"/>
              <a:gd name="connsiteY33" fmla="*/ 1443699 h 2079626"/>
              <a:gd name="connsiteX34" fmla="*/ 2256616 w 3835401"/>
              <a:gd name="connsiteY34" fmla="*/ 1833499 h 2079626"/>
              <a:gd name="connsiteX35" fmla="*/ 2276886 w 3835401"/>
              <a:gd name="connsiteY35" fmla="*/ 1967088 h 2079626"/>
              <a:gd name="connsiteX36" fmla="*/ 2280904 w 3835401"/>
              <a:gd name="connsiteY36" fmla="*/ 1972270 h 2079626"/>
              <a:gd name="connsiteX37" fmla="*/ 2279650 w 3835401"/>
              <a:gd name="connsiteY37" fmla="*/ 1984520 h 2079626"/>
              <a:gd name="connsiteX38" fmla="*/ 2279582 w 3835401"/>
              <a:gd name="connsiteY38" fmla="*/ 1984854 h 2079626"/>
              <a:gd name="connsiteX39" fmla="*/ 2279650 w 3835401"/>
              <a:gd name="connsiteY39" fmla="*/ 1985302 h 2079626"/>
              <a:gd name="connsiteX40" fmla="*/ 2185425 w 3835401"/>
              <a:gd name="connsiteY40" fmla="*/ 2079626 h 2079626"/>
              <a:gd name="connsiteX41" fmla="*/ 2185425 w 3835401"/>
              <a:gd name="connsiteY41" fmla="*/ 2079254 h 2079626"/>
              <a:gd name="connsiteX42" fmla="*/ 94150 w 3835401"/>
              <a:gd name="connsiteY42" fmla="*/ 2079254 h 2079626"/>
              <a:gd name="connsiteX43" fmla="*/ 7466 w 3835401"/>
              <a:gd name="connsiteY43" fmla="*/ 2021239 h 2079626"/>
              <a:gd name="connsiteX44" fmla="*/ 159 w 3835401"/>
              <a:gd name="connsiteY44" fmla="*/ 1985302 h 2079626"/>
              <a:gd name="connsiteX45" fmla="*/ 0 w 3835401"/>
              <a:gd name="connsiteY45" fmla="*/ 1985302 h 2079626"/>
              <a:gd name="connsiteX46" fmla="*/ 68 w 3835401"/>
              <a:gd name="connsiteY46" fmla="*/ 1984854 h 2079626"/>
              <a:gd name="connsiteX47" fmla="*/ 0 w 3835401"/>
              <a:gd name="connsiteY47" fmla="*/ 1984520 h 2079626"/>
              <a:gd name="connsiteX48" fmla="*/ 119 w 3835401"/>
              <a:gd name="connsiteY48" fmla="*/ 1984520 h 2079626"/>
              <a:gd name="connsiteX49" fmla="*/ 22987 w 3835401"/>
              <a:gd name="connsiteY49" fmla="*/ 1833499 h 2079626"/>
              <a:gd name="connsiteX50" fmla="*/ 349547 w 3835401"/>
              <a:gd name="connsiteY50" fmla="*/ 1443699 h 2079626"/>
              <a:gd name="connsiteX51" fmla="*/ 1139825 w 3835401"/>
              <a:gd name="connsiteY51" fmla="*/ 1239838 h 2079626"/>
              <a:gd name="connsiteX52" fmla="*/ 2728913 w 3835401"/>
              <a:gd name="connsiteY52" fmla="*/ 122238 h 2079626"/>
              <a:gd name="connsiteX53" fmla="*/ 2279650 w 3835401"/>
              <a:gd name="connsiteY53" fmla="*/ 573088 h 2079626"/>
              <a:gd name="connsiteX54" fmla="*/ 2728913 w 3835401"/>
              <a:gd name="connsiteY54" fmla="*/ 1023938 h 2079626"/>
              <a:gd name="connsiteX55" fmla="*/ 3178176 w 3835401"/>
              <a:gd name="connsiteY55" fmla="*/ 573088 h 2079626"/>
              <a:gd name="connsiteX56" fmla="*/ 2728913 w 3835401"/>
              <a:gd name="connsiteY56" fmla="*/ 122238 h 2079626"/>
              <a:gd name="connsiteX57" fmla="*/ 1096963 w 3835401"/>
              <a:gd name="connsiteY57" fmla="*/ 122238 h 2079626"/>
              <a:gd name="connsiteX58" fmla="*/ 647700 w 3835401"/>
              <a:gd name="connsiteY58" fmla="*/ 573088 h 2079626"/>
              <a:gd name="connsiteX59" fmla="*/ 1096963 w 3835401"/>
              <a:gd name="connsiteY59" fmla="*/ 1023938 h 2079626"/>
              <a:gd name="connsiteX60" fmla="*/ 1546226 w 3835401"/>
              <a:gd name="connsiteY60" fmla="*/ 573088 h 2079626"/>
              <a:gd name="connsiteX61" fmla="*/ 1096963 w 3835401"/>
              <a:gd name="connsiteY61" fmla="*/ 122238 h 2079626"/>
              <a:gd name="connsiteX62" fmla="*/ 2728913 w 3835401"/>
              <a:gd name="connsiteY62" fmla="*/ 0 h 2079626"/>
              <a:gd name="connsiteX63" fmla="*/ 3300413 w 3835401"/>
              <a:gd name="connsiteY63" fmla="*/ 572294 h 2079626"/>
              <a:gd name="connsiteX64" fmla="*/ 2728913 w 3835401"/>
              <a:gd name="connsiteY64" fmla="*/ 1144588 h 2079626"/>
              <a:gd name="connsiteX65" fmla="*/ 2157413 w 3835401"/>
              <a:gd name="connsiteY65" fmla="*/ 572294 h 2079626"/>
              <a:gd name="connsiteX66" fmla="*/ 2728913 w 3835401"/>
              <a:gd name="connsiteY66" fmla="*/ 0 h 2079626"/>
              <a:gd name="connsiteX67" fmla="*/ 1096963 w 3835401"/>
              <a:gd name="connsiteY67" fmla="*/ 0 h 2079626"/>
              <a:gd name="connsiteX68" fmla="*/ 1668463 w 3835401"/>
              <a:gd name="connsiteY68" fmla="*/ 572294 h 2079626"/>
              <a:gd name="connsiteX69" fmla="*/ 1096963 w 3835401"/>
              <a:gd name="connsiteY69" fmla="*/ 1144588 h 2079626"/>
              <a:gd name="connsiteX70" fmla="*/ 525463 w 3835401"/>
              <a:gd name="connsiteY70" fmla="*/ 572294 h 2079626"/>
              <a:gd name="connsiteX71" fmla="*/ 1096963 w 3835401"/>
              <a:gd name="connsiteY71" fmla="*/ 0 h 2079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3835401" h="2079626">
                <a:moveTo>
                  <a:pt x="1139825" y="1361546"/>
                </a:moveTo>
                <a:cubicBezTo>
                  <a:pt x="863228" y="1361546"/>
                  <a:pt x="607907" y="1428486"/>
                  <a:pt x="413377" y="1547152"/>
                </a:cubicBezTo>
                <a:cubicBezTo>
                  <a:pt x="272039" y="1636151"/>
                  <a:pt x="178573" y="1745688"/>
                  <a:pt x="140674" y="1864211"/>
                </a:cubicBezTo>
                <a:lnTo>
                  <a:pt x="126042" y="1957012"/>
                </a:lnTo>
                <a:lnTo>
                  <a:pt x="461033" y="1956966"/>
                </a:lnTo>
                <a:cubicBezTo>
                  <a:pt x="1944042" y="1956544"/>
                  <a:pt x="2071827" y="1953663"/>
                  <a:pt x="2148822" y="1955700"/>
                </a:cubicBezTo>
                <a:lnTo>
                  <a:pt x="2153416" y="1955865"/>
                </a:lnTo>
                <a:lnTo>
                  <a:pt x="2138930" y="1864211"/>
                </a:lnTo>
                <a:cubicBezTo>
                  <a:pt x="2100888" y="1745688"/>
                  <a:pt x="2006852" y="1636151"/>
                  <a:pt x="1863234" y="1547152"/>
                </a:cubicBezTo>
                <a:cubicBezTo>
                  <a:pt x="1671744" y="1428486"/>
                  <a:pt x="1413383" y="1361546"/>
                  <a:pt x="1139825" y="1361546"/>
                </a:cubicBezTo>
                <a:close/>
                <a:moveTo>
                  <a:pt x="2695632" y="1239838"/>
                </a:moveTo>
                <a:cubicBezTo>
                  <a:pt x="2990452" y="1239838"/>
                  <a:pt x="3270076" y="1312863"/>
                  <a:pt x="3482832" y="1443699"/>
                </a:cubicBezTo>
                <a:cubicBezTo>
                  <a:pt x="3653798" y="1550955"/>
                  <a:pt x="3766635" y="1685595"/>
                  <a:pt x="3812368" y="1833499"/>
                </a:cubicBezTo>
                <a:lnTo>
                  <a:pt x="3835344" y="1984924"/>
                </a:lnTo>
                <a:lnTo>
                  <a:pt x="3835400" y="1985060"/>
                </a:lnTo>
                <a:lnTo>
                  <a:pt x="3835380" y="1985160"/>
                </a:lnTo>
                <a:lnTo>
                  <a:pt x="3835401" y="1985302"/>
                </a:lnTo>
                <a:cubicBezTo>
                  <a:pt x="3835401" y="2037028"/>
                  <a:pt x="3792850" y="2079626"/>
                  <a:pt x="3738141" y="2079626"/>
                </a:cubicBezTo>
                <a:lnTo>
                  <a:pt x="3738136" y="2079625"/>
                </a:lnTo>
                <a:lnTo>
                  <a:pt x="3297752" y="2079625"/>
                </a:lnTo>
                <a:cubicBezTo>
                  <a:pt x="2403934" y="2079625"/>
                  <a:pt x="2403934" y="2079625"/>
                  <a:pt x="2403934" y="2079625"/>
                </a:cubicBezTo>
                <a:cubicBezTo>
                  <a:pt x="2370503" y="2079625"/>
                  <a:pt x="2343150" y="2052171"/>
                  <a:pt x="2343150" y="2018615"/>
                </a:cubicBezTo>
                <a:cubicBezTo>
                  <a:pt x="2343150" y="1985060"/>
                  <a:pt x="2370503" y="1957606"/>
                  <a:pt x="2403934" y="1957606"/>
                </a:cubicBezTo>
                <a:cubicBezTo>
                  <a:pt x="3390916" y="1957606"/>
                  <a:pt x="3637662" y="1957606"/>
                  <a:pt x="3699348" y="1957606"/>
                </a:cubicBezTo>
                <a:lnTo>
                  <a:pt x="3709531" y="1957606"/>
                </a:lnTo>
                <a:lnTo>
                  <a:pt x="3688276" y="1849236"/>
                </a:lnTo>
                <a:cubicBezTo>
                  <a:pt x="3648099" y="1736560"/>
                  <a:pt x="3555778" y="1631587"/>
                  <a:pt x="3419005" y="1547152"/>
                </a:cubicBezTo>
                <a:cubicBezTo>
                  <a:pt x="3224485" y="1428486"/>
                  <a:pt x="2969176" y="1361546"/>
                  <a:pt x="2695632" y="1361546"/>
                </a:cubicBezTo>
                <a:cubicBezTo>
                  <a:pt x="2485914" y="1361546"/>
                  <a:pt x="2285315" y="1401102"/>
                  <a:pt x="2115109" y="1474127"/>
                </a:cubicBezTo>
                <a:cubicBezTo>
                  <a:pt x="2084715" y="1486297"/>
                  <a:pt x="2048243" y="1471084"/>
                  <a:pt x="2033046" y="1440657"/>
                </a:cubicBezTo>
                <a:cubicBezTo>
                  <a:pt x="2020888" y="1410230"/>
                  <a:pt x="2036085" y="1373717"/>
                  <a:pt x="2066479" y="1361546"/>
                </a:cubicBezTo>
                <a:cubicBezTo>
                  <a:pt x="2251882" y="1282436"/>
                  <a:pt x="2467678" y="1239838"/>
                  <a:pt x="2695632" y="1239838"/>
                </a:cubicBezTo>
                <a:close/>
                <a:moveTo>
                  <a:pt x="1139825" y="1239838"/>
                </a:moveTo>
                <a:cubicBezTo>
                  <a:pt x="1434660" y="1239838"/>
                  <a:pt x="1717337" y="1312863"/>
                  <a:pt x="1927064" y="1443699"/>
                </a:cubicBezTo>
                <a:cubicBezTo>
                  <a:pt x="2098038" y="1550955"/>
                  <a:pt x="2210881" y="1685595"/>
                  <a:pt x="2256616" y="1833499"/>
                </a:cubicBezTo>
                <a:lnTo>
                  <a:pt x="2276886" y="1967088"/>
                </a:lnTo>
                <a:lnTo>
                  <a:pt x="2280904" y="1972270"/>
                </a:lnTo>
                <a:cubicBezTo>
                  <a:pt x="2280861" y="1975446"/>
                  <a:pt x="2279650" y="1979426"/>
                  <a:pt x="2279650" y="1984520"/>
                </a:cubicBezTo>
                <a:lnTo>
                  <a:pt x="2279582" y="1984854"/>
                </a:lnTo>
                <a:lnTo>
                  <a:pt x="2279650" y="1985302"/>
                </a:lnTo>
                <a:cubicBezTo>
                  <a:pt x="2279650" y="2037028"/>
                  <a:pt x="2237097" y="2079626"/>
                  <a:pt x="2185425" y="2079626"/>
                </a:cubicBezTo>
                <a:lnTo>
                  <a:pt x="2185425" y="2079254"/>
                </a:lnTo>
                <a:lnTo>
                  <a:pt x="94150" y="2079254"/>
                </a:lnTo>
                <a:cubicBezTo>
                  <a:pt x="55510" y="2079254"/>
                  <a:pt x="21871" y="2055189"/>
                  <a:pt x="7466" y="2021239"/>
                </a:cubicBezTo>
                <a:lnTo>
                  <a:pt x="159" y="1985302"/>
                </a:lnTo>
                <a:lnTo>
                  <a:pt x="0" y="1985302"/>
                </a:lnTo>
                <a:lnTo>
                  <a:pt x="68" y="1984854"/>
                </a:lnTo>
                <a:lnTo>
                  <a:pt x="0" y="1984520"/>
                </a:lnTo>
                <a:lnTo>
                  <a:pt x="119" y="1984520"/>
                </a:lnTo>
                <a:lnTo>
                  <a:pt x="22987" y="1833499"/>
                </a:lnTo>
                <a:cubicBezTo>
                  <a:pt x="68580" y="1685595"/>
                  <a:pt x="180853" y="1550955"/>
                  <a:pt x="349547" y="1443699"/>
                </a:cubicBezTo>
                <a:cubicBezTo>
                  <a:pt x="562314" y="1312863"/>
                  <a:pt x="841951" y="1239838"/>
                  <a:pt x="1139825" y="1239838"/>
                </a:cubicBezTo>
                <a:close/>
                <a:moveTo>
                  <a:pt x="2728913" y="122238"/>
                </a:moveTo>
                <a:cubicBezTo>
                  <a:pt x="2480792" y="122238"/>
                  <a:pt x="2279650" y="324090"/>
                  <a:pt x="2279650" y="573088"/>
                </a:cubicBezTo>
                <a:cubicBezTo>
                  <a:pt x="2279650" y="822086"/>
                  <a:pt x="2480792" y="1023938"/>
                  <a:pt x="2728913" y="1023938"/>
                </a:cubicBezTo>
                <a:cubicBezTo>
                  <a:pt x="2977034" y="1023938"/>
                  <a:pt x="3178176" y="822086"/>
                  <a:pt x="3178176" y="573088"/>
                </a:cubicBezTo>
                <a:cubicBezTo>
                  <a:pt x="3178176" y="324090"/>
                  <a:pt x="2977034" y="122238"/>
                  <a:pt x="2728913" y="122238"/>
                </a:cubicBezTo>
                <a:close/>
                <a:moveTo>
                  <a:pt x="1096963" y="122238"/>
                </a:moveTo>
                <a:cubicBezTo>
                  <a:pt x="848842" y="122238"/>
                  <a:pt x="647700" y="324090"/>
                  <a:pt x="647700" y="573088"/>
                </a:cubicBezTo>
                <a:cubicBezTo>
                  <a:pt x="647700" y="822086"/>
                  <a:pt x="848842" y="1023938"/>
                  <a:pt x="1096963" y="1023938"/>
                </a:cubicBezTo>
                <a:cubicBezTo>
                  <a:pt x="1345084" y="1023938"/>
                  <a:pt x="1546226" y="822086"/>
                  <a:pt x="1546226" y="573088"/>
                </a:cubicBezTo>
                <a:cubicBezTo>
                  <a:pt x="1546226" y="324090"/>
                  <a:pt x="1345084" y="122238"/>
                  <a:pt x="1096963" y="122238"/>
                </a:cubicBezTo>
                <a:close/>
                <a:moveTo>
                  <a:pt x="2728913" y="0"/>
                </a:moveTo>
                <a:cubicBezTo>
                  <a:pt x="3044544" y="0"/>
                  <a:pt x="3300413" y="256225"/>
                  <a:pt x="3300413" y="572294"/>
                </a:cubicBezTo>
                <a:cubicBezTo>
                  <a:pt x="3300413" y="888363"/>
                  <a:pt x="3044544" y="1144588"/>
                  <a:pt x="2728913" y="1144588"/>
                </a:cubicBezTo>
                <a:cubicBezTo>
                  <a:pt x="2413282" y="1144588"/>
                  <a:pt x="2157413" y="888363"/>
                  <a:pt x="2157413" y="572294"/>
                </a:cubicBezTo>
                <a:cubicBezTo>
                  <a:pt x="2157413" y="256225"/>
                  <a:pt x="2413282" y="0"/>
                  <a:pt x="2728913" y="0"/>
                </a:cubicBezTo>
                <a:close/>
                <a:moveTo>
                  <a:pt x="1096963" y="0"/>
                </a:moveTo>
                <a:cubicBezTo>
                  <a:pt x="1412594" y="0"/>
                  <a:pt x="1668463" y="256225"/>
                  <a:pt x="1668463" y="572294"/>
                </a:cubicBezTo>
                <a:cubicBezTo>
                  <a:pt x="1668463" y="888363"/>
                  <a:pt x="1412594" y="1144588"/>
                  <a:pt x="1096963" y="1144588"/>
                </a:cubicBezTo>
                <a:cubicBezTo>
                  <a:pt x="781332" y="1144588"/>
                  <a:pt x="525463" y="888363"/>
                  <a:pt x="525463" y="572294"/>
                </a:cubicBezTo>
                <a:cubicBezTo>
                  <a:pt x="525463" y="256225"/>
                  <a:pt x="781332" y="0"/>
                  <a:pt x="109696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/>
              <a:t> </a:t>
            </a:r>
          </a:p>
        </p:txBody>
      </p:sp>
      <p:sp>
        <p:nvSpPr>
          <p:cNvPr id="20" name="Freeform 98"/>
          <p:cNvSpPr>
            <a:spLocks/>
          </p:cNvSpPr>
          <p:nvPr/>
        </p:nvSpPr>
        <p:spPr bwMode="auto">
          <a:xfrm>
            <a:off x="660400" y="3736806"/>
            <a:ext cx="609600" cy="330536"/>
          </a:xfrm>
          <a:custGeom>
            <a:avLst/>
            <a:gdLst>
              <a:gd name="connsiteX0" fmla="*/ 1139825 w 3835401"/>
              <a:gd name="connsiteY0" fmla="*/ 1361546 h 2079626"/>
              <a:gd name="connsiteX1" fmla="*/ 413377 w 3835401"/>
              <a:gd name="connsiteY1" fmla="*/ 1547152 h 2079626"/>
              <a:gd name="connsiteX2" fmla="*/ 140674 w 3835401"/>
              <a:gd name="connsiteY2" fmla="*/ 1864211 h 2079626"/>
              <a:gd name="connsiteX3" fmla="*/ 126042 w 3835401"/>
              <a:gd name="connsiteY3" fmla="*/ 1957012 h 2079626"/>
              <a:gd name="connsiteX4" fmla="*/ 461033 w 3835401"/>
              <a:gd name="connsiteY4" fmla="*/ 1956966 h 2079626"/>
              <a:gd name="connsiteX5" fmla="*/ 2148822 w 3835401"/>
              <a:gd name="connsiteY5" fmla="*/ 1955700 h 2079626"/>
              <a:gd name="connsiteX6" fmla="*/ 2153416 w 3835401"/>
              <a:gd name="connsiteY6" fmla="*/ 1955865 h 2079626"/>
              <a:gd name="connsiteX7" fmla="*/ 2138930 w 3835401"/>
              <a:gd name="connsiteY7" fmla="*/ 1864211 h 2079626"/>
              <a:gd name="connsiteX8" fmla="*/ 1863234 w 3835401"/>
              <a:gd name="connsiteY8" fmla="*/ 1547152 h 2079626"/>
              <a:gd name="connsiteX9" fmla="*/ 1139825 w 3835401"/>
              <a:gd name="connsiteY9" fmla="*/ 1361546 h 2079626"/>
              <a:gd name="connsiteX10" fmla="*/ 2695632 w 3835401"/>
              <a:gd name="connsiteY10" fmla="*/ 1239838 h 2079626"/>
              <a:gd name="connsiteX11" fmla="*/ 3482832 w 3835401"/>
              <a:gd name="connsiteY11" fmla="*/ 1443699 h 2079626"/>
              <a:gd name="connsiteX12" fmla="*/ 3812368 w 3835401"/>
              <a:gd name="connsiteY12" fmla="*/ 1833499 h 2079626"/>
              <a:gd name="connsiteX13" fmla="*/ 3835344 w 3835401"/>
              <a:gd name="connsiteY13" fmla="*/ 1984924 h 2079626"/>
              <a:gd name="connsiteX14" fmla="*/ 3835400 w 3835401"/>
              <a:gd name="connsiteY14" fmla="*/ 1985060 h 2079626"/>
              <a:gd name="connsiteX15" fmla="*/ 3835380 w 3835401"/>
              <a:gd name="connsiteY15" fmla="*/ 1985160 h 2079626"/>
              <a:gd name="connsiteX16" fmla="*/ 3835401 w 3835401"/>
              <a:gd name="connsiteY16" fmla="*/ 1985302 h 2079626"/>
              <a:gd name="connsiteX17" fmla="*/ 3738141 w 3835401"/>
              <a:gd name="connsiteY17" fmla="*/ 2079626 h 2079626"/>
              <a:gd name="connsiteX18" fmla="*/ 3738136 w 3835401"/>
              <a:gd name="connsiteY18" fmla="*/ 2079625 h 2079626"/>
              <a:gd name="connsiteX19" fmla="*/ 3297752 w 3835401"/>
              <a:gd name="connsiteY19" fmla="*/ 2079625 h 2079626"/>
              <a:gd name="connsiteX20" fmla="*/ 2403934 w 3835401"/>
              <a:gd name="connsiteY20" fmla="*/ 2079625 h 2079626"/>
              <a:gd name="connsiteX21" fmla="*/ 2343150 w 3835401"/>
              <a:gd name="connsiteY21" fmla="*/ 2018615 h 2079626"/>
              <a:gd name="connsiteX22" fmla="*/ 2403934 w 3835401"/>
              <a:gd name="connsiteY22" fmla="*/ 1957606 h 2079626"/>
              <a:gd name="connsiteX23" fmla="*/ 3699348 w 3835401"/>
              <a:gd name="connsiteY23" fmla="*/ 1957606 h 2079626"/>
              <a:gd name="connsiteX24" fmla="*/ 3709531 w 3835401"/>
              <a:gd name="connsiteY24" fmla="*/ 1957606 h 2079626"/>
              <a:gd name="connsiteX25" fmla="*/ 3688276 w 3835401"/>
              <a:gd name="connsiteY25" fmla="*/ 1849236 h 2079626"/>
              <a:gd name="connsiteX26" fmla="*/ 3419005 w 3835401"/>
              <a:gd name="connsiteY26" fmla="*/ 1547152 h 2079626"/>
              <a:gd name="connsiteX27" fmla="*/ 2695632 w 3835401"/>
              <a:gd name="connsiteY27" fmla="*/ 1361546 h 2079626"/>
              <a:gd name="connsiteX28" fmla="*/ 2115109 w 3835401"/>
              <a:gd name="connsiteY28" fmla="*/ 1474127 h 2079626"/>
              <a:gd name="connsiteX29" fmla="*/ 2033046 w 3835401"/>
              <a:gd name="connsiteY29" fmla="*/ 1440657 h 2079626"/>
              <a:gd name="connsiteX30" fmla="*/ 2066479 w 3835401"/>
              <a:gd name="connsiteY30" fmla="*/ 1361546 h 2079626"/>
              <a:gd name="connsiteX31" fmla="*/ 2695632 w 3835401"/>
              <a:gd name="connsiteY31" fmla="*/ 1239838 h 2079626"/>
              <a:gd name="connsiteX32" fmla="*/ 1139825 w 3835401"/>
              <a:gd name="connsiteY32" fmla="*/ 1239838 h 2079626"/>
              <a:gd name="connsiteX33" fmla="*/ 1927064 w 3835401"/>
              <a:gd name="connsiteY33" fmla="*/ 1443699 h 2079626"/>
              <a:gd name="connsiteX34" fmla="*/ 2256616 w 3835401"/>
              <a:gd name="connsiteY34" fmla="*/ 1833499 h 2079626"/>
              <a:gd name="connsiteX35" fmla="*/ 2276886 w 3835401"/>
              <a:gd name="connsiteY35" fmla="*/ 1967088 h 2079626"/>
              <a:gd name="connsiteX36" fmla="*/ 2280904 w 3835401"/>
              <a:gd name="connsiteY36" fmla="*/ 1972270 h 2079626"/>
              <a:gd name="connsiteX37" fmla="*/ 2279650 w 3835401"/>
              <a:gd name="connsiteY37" fmla="*/ 1984520 h 2079626"/>
              <a:gd name="connsiteX38" fmla="*/ 2279582 w 3835401"/>
              <a:gd name="connsiteY38" fmla="*/ 1984854 h 2079626"/>
              <a:gd name="connsiteX39" fmla="*/ 2279650 w 3835401"/>
              <a:gd name="connsiteY39" fmla="*/ 1985302 h 2079626"/>
              <a:gd name="connsiteX40" fmla="*/ 2185425 w 3835401"/>
              <a:gd name="connsiteY40" fmla="*/ 2079626 h 2079626"/>
              <a:gd name="connsiteX41" fmla="*/ 2185425 w 3835401"/>
              <a:gd name="connsiteY41" fmla="*/ 2079254 h 2079626"/>
              <a:gd name="connsiteX42" fmla="*/ 94150 w 3835401"/>
              <a:gd name="connsiteY42" fmla="*/ 2079254 h 2079626"/>
              <a:gd name="connsiteX43" fmla="*/ 7466 w 3835401"/>
              <a:gd name="connsiteY43" fmla="*/ 2021239 h 2079626"/>
              <a:gd name="connsiteX44" fmla="*/ 159 w 3835401"/>
              <a:gd name="connsiteY44" fmla="*/ 1985302 h 2079626"/>
              <a:gd name="connsiteX45" fmla="*/ 0 w 3835401"/>
              <a:gd name="connsiteY45" fmla="*/ 1985302 h 2079626"/>
              <a:gd name="connsiteX46" fmla="*/ 68 w 3835401"/>
              <a:gd name="connsiteY46" fmla="*/ 1984854 h 2079626"/>
              <a:gd name="connsiteX47" fmla="*/ 0 w 3835401"/>
              <a:gd name="connsiteY47" fmla="*/ 1984520 h 2079626"/>
              <a:gd name="connsiteX48" fmla="*/ 119 w 3835401"/>
              <a:gd name="connsiteY48" fmla="*/ 1984520 h 2079626"/>
              <a:gd name="connsiteX49" fmla="*/ 22987 w 3835401"/>
              <a:gd name="connsiteY49" fmla="*/ 1833499 h 2079626"/>
              <a:gd name="connsiteX50" fmla="*/ 349547 w 3835401"/>
              <a:gd name="connsiteY50" fmla="*/ 1443699 h 2079626"/>
              <a:gd name="connsiteX51" fmla="*/ 1139825 w 3835401"/>
              <a:gd name="connsiteY51" fmla="*/ 1239838 h 2079626"/>
              <a:gd name="connsiteX52" fmla="*/ 2728913 w 3835401"/>
              <a:gd name="connsiteY52" fmla="*/ 122238 h 2079626"/>
              <a:gd name="connsiteX53" fmla="*/ 2279650 w 3835401"/>
              <a:gd name="connsiteY53" fmla="*/ 573088 h 2079626"/>
              <a:gd name="connsiteX54" fmla="*/ 2728913 w 3835401"/>
              <a:gd name="connsiteY54" fmla="*/ 1023938 h 2079626"/>
              <a:gd name="connsiteX55" fmla="*/ 3178176 w 3835401"/>
              <a:gd name="connsiteY55" fmla="*/ 573088 h 2079626"/>
              <a:gd name="connsiteX56" fmla="*/ 2728913 w 3835401"/>
              <a:gd name="connsiteY56" fmla="*/ 122238 h 2079626"/>
              <a:gd name="connsiteX57" fmla="*/ 1096963 w 3835401"/>
              <a:gd name="connsiteY57" fmla="*/ 122238 h 2079626"/>
              <a:gd name="connsiteX58" fmla="*/ 647700 w 3835401"/>
              <a:gd name="connsiteY58" fmla="*/ 573088 h 2079626"/>
              <a:gd name="connsiteX59" fmla="*/ 1096963 w 3835401"/>
              <a:gd name="connsiteY59" fmla="*/ 1023938 h 2079626"/>
              <a:gd name="connsiteX60" fmla="*/ 1546226 w 3835401"/>
              <a:gd name="connsiteY60" fmla="*/ 573088 h 2079626"/>
              <a:gd name="connsiteX61" fmla="*/ 1096963 w 3835401"/>
              <a:gd name="connsiteY61" fmla="*/ 122238 h 2079626"/>
              <a:gd name="connsiteX62" fmla="*/ 2728913 w 3835401"/>
              <a:gd name="connsiteY62" fmla="*/ 0 h 2079626"/>
              <a:gd name="connsiteX63" fmla="*/ 3300413 w 3835401"/>
              <a:gd name="connsiteY63" fmla="*/ 572294 h 2079626"/>
              <a:gd name="connsiteX64" fmla="*/ 2728913 w 3835401"/>
              <a:gd name="connsiteY64" fmla="*/ 1144588 h 2079626"/>
              <a:gd name="connsiteX65" fmla="*/ 2157413 w 3835401"/>
              <a:gd name="connsiteY65" fmla="*/ 572294 h 2079626"/>
              <a:gd name="connsiteX66" fmla="*/ 2728913 w 3835401"/>
              <a:gd name="connsiteY66" fmla="*/ 0 h 2079626"/>
              <a:gd name="connsiteX67" fmla="*/ 1096963 w 3835401"/>
              <a:gd name="connsiteY67" fmla="*/ 0 h 2079626"/>
              <a:gd name="connsiteX68" fmla="*/ 1668463 w 3835401"/>
              <a:gd name="connsiteY68" fmla="*/ 572294 h 2079626"/>
              <a:gd name="connsiteX69" fmla="*/ 1096963 w 3835401"/>
              <a:gd name="connsiteY69" fmla="*/ 1144588 h 2079626"/>
              <a:gd name="connsiteX70" fmla="*/ 525463 w 3835401"/>
              <a:gd name="connsiteY70" fmla="*/ 572294 h 2079626"/>
              <a:gd name="connsiteX71" fmla="*/ 1096963 w 3835401"/>
              <a:gd name="connsiteY71" fmla="*/ 0 h 2079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3835401" h="2079626">
                <a:moveTo>
                  <a:pt x="1139825" y="1361546"/>
                </a:moveTo>
                <a:cubicBezTo>
                  <a:pt x="863228" y="1361546"/>
                  <a:pt x="607907" y="1428486"/>
                  <a:pt x="413377" y="1547152"/>
                </a:cubicBezTo>
                <a:cubicBezTo>
                  <a:pt x="272039" y="1636151"/>
                  <a:pt x="178573" y="1745688"/>
                  <a:pt x="140674" y="1864211"/>
                </a:cubicBezTo>
                <a:lnTo>
                  <a:pt x="126042" y="1957012"/>
                </a:lnTo>
                <a:lnTo>
                  <a:pt x="461033" y="1956966"/>
                </a:lnTo>
                <a:cubicBezTo>
                  <a:pt x="1944042" y="1956544"/>
                  <a:pt x="2071827" y="1953663"/>
                  <a:pt x="2148822" y="1955700"/>
                </a:cubicBezTo>
                <a:lnTo>
                  <a:pt x="2153416" y="1955865"/>
                </a:lnTo>
                <a:lnTo>
                  <a:pt x="2138930" y="1864211"/>
                </a:lnTo>
                <a:cubicBezTo>
                  <a:pt x="2100888" y="1745688"/>
                  <a:pt x="2006852" y="1636151"/>
                  <a:pt x="1863234" y="1547152"/>
                </a:cubicBezTo>
                <a:cubicBezTo>
                  <a:pt x="1671744" y="1428486"/>
                  <a:pt x="1413383" y="1361546"/>
                  <a:pt x="1139825" y="1361546"/>
                </a:cubicBezTo>
                <a:close/>
                <a:moveTo>
                  <a:pt x="2695632" y="1239838"/>
                </a:moveTo>
                <a:cubicBezTo>
                  <a:pt x="2990452" y="1239838"/>
                  <a:pt x="3270076" y="1312863"/>
                  <a:pt x="3482832" y="1443699"/>
                </a:cubicBezTo>
                <a:cubicBezTo>
                  <a:pt x="3653798" y="1550955"/>
                  <a:pt x="3766635" y="1685595"/>
                  <a:pt x="3812368" y="1833499"/>
                </a:cubicBezTo>
                <a:lnTo>
                  <a:pt x="3835344" y="1984924"/>
                </a:lnTo>
                <a:lnTo>
                  <a:pt x="3835400" y="1985060"/>
                </a:lnTo>
                <a:lnTo>
                  <a:pt x="3835380" y="1985160"/>
                </a:lnTo>
                <a:lnTo>
                  <a:pt x="3835401" y="1985302"/>
                </a:lnTo>
                <a:cubicBezTo>
                  <a:pt x="3835401" y="2037028"/>
                  <a:pt x="3792850" y="2079626"/>
                  <a:pt x="3738141" y="2079626"/>
                </a:cubicBezTo>
                <a:lnTo>
                  <a:pt x="3738136" y="2079625"/>
                </a:lnTo>
                <a:lnTo>
                  <a:pt x="3297752" y="2079625"/>
                </a:lnTo>
                <a:cubicBezTo>
                  <a:pt x="2403934" y="2079625"/>
                  <a:pt x="2403934" y="2079625"/>
                  <a:pt x="2403934" y="2079625"/>
                </a:cubicBezTo>
                <a:cubicBezTo>
                  <a:pt x="2370503" y="2079625"/>
                  <a:pt x="2343150" y="2052171"/>
                  <a:pt x="2343150" y="2018615"/>
                </a:cubicBezTo>
                <a:cubicBezTo>
                  <a:pt x="2343150" y="1985060"/>
                  <a:pt x="2370503" y="1957606"/>
                  <a:pt x="2403934" y="1957606"/>
                </a:cubicBezTo>
                <a:cubicBezTo>
                  <a:pt x="3390916" y="1957606"/>
                  <a:pt x="3637662" y="1957606"/>
                  <a:pt x="3699348" y="1957606"/>
                </a:cubicBezTo>
                <a:lnTo>
                  <a:pt x="3709531" y="1957606"/>
                </a:lnTo>
                <a:lnTo>
                  <a:pt x="3688276" y="1849236"/>
                </a:lnTo>
                <a:cubicBezTo>
                  <a:pt x="3648099" y="1736560"/>
                  <a:pt x="3555778" y="1631587"/>
                  <a:pt x="3419005" y="1547152"/>
                </a:cubicBezTo>
                <a:cubicBezTo>
                  <a:pt x="3224485" y="1428486"/>
                  <a:pt x="2969176" y="1361546"/>
                  <a:pt x="2695632" y="1361546"/>
                </a:cubicBezTo>
                <a:cubicBezTo>
                  <a:pt x="2485914" y="1361546"/>
                  <a:pt x="2285315" y="1401102"/>
                  <a:pt x="2115109" y="1474127"/>
                </a:cubicBezTo>
                <a:cubicBezTo>
                  <a:pt x="2084715" y="1486297"/>
                  <a:pt x="2048243" y="1471084"/>
                  <a:pt x="2033046" y="1440657"/>
                </a:cubicBezTo>
                <a:cubicBezTo>
                  <a:pt x="2020888" y="1410230"/>
                  <a:pt x="2036085" y="1373717"/>
                  <a:pt x="2066479" y="1361546"/>
                </a:cubicBezTo>
                <a:cubicBezTo>
                  <a:pt x="2251882" y="1282436"/>
                  <a:pt x="2467678" y="1239838"/>
                  <a:pt x="2695632" y="1239838"/>
                </a:cubicBezTo>
                <a:close/>
                <a:moveTo>
                  <a:pt x="1139825" y="1239838"/>
                </a:moveTo>
                <a:cubicBezTo>
                  <a:pt x="1434660" y="1239838"/>
                  <a:pt x="1717337" y="1312863"/>
                  <a:pt x="1927064" y="1443699"/>
                </a:cubicBezTo>
                <a:cubicBezTo>
                  <a:pt x="2098038" y="1550955"/>
                  <a:pt x="2210881" y="1685595"/>
                  <a:pt x="2256616" y="1833499"/>
                </a:cubicBezTo>
                <a:lnTo>
                  <a:pt x="2276886" y="1967088"/>
                </a:lnTo>
                <a:lnTo>
                  <a:pt x="2280904" y="1972270"/>
                </a:lnTo>
                <a:cubicBezTo>
                  <a:pt x="2280861" y="1975446"/>
                  <a:pt x="2279650" y="1979426"/>
                  <a:pt x="2279650" y="1984520"/>
                </a:cubicBezTo>
                <a:lnTo>
                  <a:pt x="2279582" y="1984854"/>
                </a:lnTo>
                <a:lnTo>
                  <a:pt x="2279650" y="1985302"/>
                </a:lnTo>
                <a:cubicBezTo>
                  <a:pt x="2279650" y="2037028"/>
                  <a:pt x="2237097" y="2079626"/>
                  <a:pt x="2185425" y="2079626"/>
                </a:cubicBezTo>
                <a:lnTo>
                  <a:pt x="2185425" y="2079254"/>
                </a:lnTo>
                <a:lnTo>
                  <a:pt x="94150" y="2079254"/>
                </a:lnTo>
                <a:cubicBezTo>
                  <a:pt x="55510" y="2079254"/>
                  <a:pt x="21871" y="2055189"/>
                  <a:pt x="7466" y="2021239"/>
                </a:cubicBezTo>
                <a:lnTo>
                  <a:pt x="159" y="1985302"/>
                </a:lnTo>
                <a:lnTo>
                  <a:pt x="0" y="1985302"/>
                </a:lnTo>
                <a:lnTo>
                  <a:pt x="68" y="1984854"/>
                </a:lnTo>
                <a:lnTo>
                  <a:pt x="0" y="1984520"/>
                </a:lnTo>
                <a:lnTo>
                  <a:pt x="119" y="1984520"/>
                </a:lnTo>
                <a:lnTo>
                  <a:pt x="22987" y="1833499"/>
                </a:lnTo>
                <a:cubicBezTo>
                  <a:pt x="68580" y="1685595"/>
                  <a:pt x="180853" y="1550955"/>
                  <a:pt x="349547" y="1443699"/>
                </a:cubicBezTo>
                <a:cubicBezTo>
                  <a:pt x="562314" y="1312863"/>
                  <a:pt x="841951" y="1239838"/>
                  <a:pt x="1139825" y="1239838"/>
                </a:cubicBezTo>
                <a:close/>
                <a:moveTo>
                  <a:pt x="2728913" y="122238"/>
                </a:moveTo>
                <a:cubicBezTo>
                  <a:pt x="2480792" y="122238"/>
                  <a:pt x="2279650" y="324090"/>
                  <a:pt x="2279650" y="573088"/>
                </a:cubicBezTo>
                <a:cubicBezTo>
                  <a:pt x="2279650" y="822086"/>
                  <a:pt x="2480792" y="1023938"/>
                  <a:pt x="2728913" y="1023938"/>
                </a:cubicBezTo>
                <a:cubicBezTo>
                  <a:pt x="2977034" y="1023938"/>
                  <a:pt x="3178176" y="822086"/>
                  <a:pt x="3178176" y="573088"/>
                </a:cubicBezTo>
                <a:cubicBezTo>
                  <a:pt x="3178176" y="324090"/>
                  <a:pt x="2977034" y="122238"/>
                  <a:pt x="2728913" y="122238"/>
                </a:cubicBezTo>
                <a:close/>
                <a:moveTo>
                  <a:pt x="1096963" y="122238"/>
                </a:moveTo>
                <a:cubicBezTo>
                  <a:pt x="848842" y="122238"/>
                  <a:pt x="647700" y="324090"/>
                  <a:pt x="647700" y="573088"/>
                </a:cubicBezTo>
                <a:cubicBezTo>
                  <a:pt x="647700" y="822086"/>
                  <a:pt x="848842" y="1023938"/>
                  <a:pt x="1096963" y="1023938"/>
                </a:cubicBezTo>
                <a:cubicBezTo>
                  <a:pt x="1345084" y="1023938"/>
                  <a:pt x="1546226" y="822086"/>
                  <a:pt x="1546226" y="573088"/>
                </a:cubicBezTo>
                <a:cubicBezTo>
                  <a:pt x="1546226" y="324090"/>
                  <a:pt x="1345084" y="122238"/>
                  <a:pt x="1096963" y="122238"/>
                </a:cubicBezTo>
                <a:close/>
                <a:moveTo>
                  <a:pt x="2728913" y="0"/>
                </a:moveTo>
                <a:cubicBezTo>
                  <a:pt x="3044544" y="0"/>
                  <a:pt x="3300413" y="256225"/>
                  <a:pt x="3300413" y="572294"/>
                </a:cubicBezTo>
                <a:cubicBezTo>
                  <a:pt x="3300413" y="888363"/>
                  <a:pt x="3044544" y="1144588"/>
                  <a:pt x="2728913" y="1144588"/>
                </a:cubicBezTo>
                <a:cubicBezTo>
                  <a:pt x="2413282" y="1144588"/>
                  <a:pt x="2157413" y="888363"/>
                  <a:pt x="2157413" y="572294"/>
                </a:cubicBezTo>
                <a:cubicBezTo>
                  <a:pt x="2157413" y="256225"/>
                  <a:pt x="2413282" y="0"/>
                  <a:pt x="2728913" y="0"/>
                </a:cubicBezTo>
                <a:close/>
                <a:moveTo>
                  <a:pt x="1096963" y="0"/>
                </a:moveTo>
                <a:cubicBezTo>
                  <a:pt x="1412594" y="0"/>
                  <a:pt x="1668463" y="256225"/>
                  <a:pt x="1668463" y="572294"/>
                </a:cubicBezTo>
                <a:cubicBezTo>
                  <a:pt x="1668463" y="888363"/>
                  <a:pt x="1412594" y="1144588"/>
                  <a:pt x="1096963" y="1144588"/>
                </a:cubicBezTo>
                <a:cubicBezTo>
                  <a:pt x="781332" y="1144588"/>
                  <a:pt x="525463" y="888363"/>
                  <a:pt x="525463" y="572294"/>
                </a:cubicBezTo>
                <a:cubicBezTo>
                  <a:pt x="525463" y="256225"/>
                  <a:pt x="781332" y="0"/>
                  <a:pt x="109696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/>
              <a:t> </a:t>
            </a:r>
          </a:p>
        </p:txBody>
      </p:sp>
      <p:sp>
        <p:nvSpPr>
          <p:cNvPr id="21" name="Freeform 98"/>
          <p:cNvSpPr>
            <a:spLocks/>
          </p:cNvSpPr>
          <p:nvPr/>
        </p:nvSpPr>
        <p:spPr bwMode="auto">
          <a:xfrm>
            <a:off x="660400" y="4740106"/>
            <a:ext cx="609600" cy="330536"/>
          </a:xfrm>
          <a:custGeom>
            <a:avLst/>
            <a:gdLst>
              <a:gd name="connsiteX0" fmla="*/ 1139825 w 3835401"/>
              <a:gd name="connsiteY0" fmla="*/ 1361546 h 2079626"/>
              <a:gd name="connsiteX1" fmla="*/ 413377 w 3835401"/>
              <a:gd name="connsiteY1" fmla="*/ 1547152 h 2079626"/>
              <a:gd name="connsiteX2" fmla="*/ 140674 w 3835401"/>
              <a:gd name="connsiteY2" fmla="*/ 1864211 h 2079626"/>
              <a:gd name="connsiteX3" fmla="*/ 126042 w 3835401"/>
              <a:gd name="connsiteY3" fmla="*/ 1957012 h 2079626"/>
              <a:gd name="connsiteX4" fmla="*/ 461033 w 3835401"/>
              <a:gd name="connsiteY4" fmla="*/ 1956966 h 2079626"/>
              <a:gd name="connsiteX5" fmla="*/ 2148822 w 3835401"/>
              <a:gd name="connsiteY5" fmla="*/ 1955700 h 2079626"/>
              <a:gd name="connsiteX6" fmla="*/ 2153416 w 3835401"/>
              <a:gd name="connsiteY6" fmla="*/ 1955865 h 2079626"/>
              <a:gd name="connsiteX7" fmla="*/ 2138930 w 3835401"/>
              <a:gd name="connsiteY7" fmla="*/ 1864211 h 2079626"/>
              <a:gd name="connsiteX8" fmla="*/ 1863234 w 3835401"/>
              <a:gd name="connsiteY8" fmla="*/ 1547152 h 2079626"/>
              <a:gd name="connsiteX9" fmla="*/ 1139825 w 3835401"/>
              <a:gd name="connsiteY9" fmla="*/ 1361546 h 2079626"/>
              <a:gd name="connsiteX10" fmla="*/ 2695632 w 3835401"/>
              <a:gd name="connsiteY10" fmla="*/ 1239838 h 2079626"/>
              <a:gd name="connsiteX11" fmla="*/ 3482832 w 3835401"/>
              <a:gd name="connsiteY11" fmla="*/ 1443699 h 2079626"/>
              <a:gd name="connsiteX12" fmla="*/ 3812368 w 3835401"/>
              <a:gd name="connsiteY12" fmla="*/ 1833499 h 2079626"/>
              <a:gd name="connsiteX13" fmla="*/ 3835344 w 3835401"/>
              <a:gd name="connsiteY13" fmla="*/ 1984924 h 2079626"/>
              <a:gd name="connsiteX14" fmla="*/ 3835400 w 3835401"/>
              <a:gd name="connsiteY14" fmla="*/ 1985060 h 2079626"/>
              <a:gd name="connsiteX15" fmla="*/ 3835380 w 3835401"/>
              <a:gd name="connsiteY15" fmla="*/ 1985160 h 2079626"/>
              <a:gd name="connsiteX16" fmla="*/ 3835401 w 3835401"/>
              <a:gd name="connsiteY16" fmla="*/ 1985302 h 2079626"/>
              <a:gd name="connsiteX17" fmla="*/ 3738141 w 3835401"/>
              <a:gd name="connsiteY17" fmla="*/ 2079626 h 2079626"/>
              <a:gd name="connsiteX18" fmla="*/ 3738136 w 3835401"/>
              <a:gd name="connsiteY18" fmla="*/ 2079625 h 2079626"/>
              <a:gd name="connsiteX19" fmla="*/ 3297752 w 3835401"/>
              <a:gd name="connsiteY19" fmla="*/ 2079625 h 2079626"/>
              <a:gd name="connsiteX20" fmla="*/ 2403934 w 3835401"/>
              <a:gd name="connsiteY20" fmla="*/ 2079625 h 2079626"/>
              <a:gd name="connsiteX21" fmla="*/ 2343150 w 3835401"/>
              <a:gd name="connsiteY21" fmla="*/ 2018615 h 2079626"/>
              <a:gd name="connsiteX22" fmla="*/ 2403934 w 3835401"/>
              <a:gd name="connsiteY22" fmla="*/ 1957606 h 2079626"/>
              <a:gd name="connsiteX23" fmla="*/ 3699348 w 3835401"/>
              <a:gd name="connsiteY23" fmla="*/ 1957606 h 2079626"/>
              <a:gd name="connsiteX24" fmla="*/ 3709531 w 3835401"/>
              <a:gd name="connsiteY24" fmla="*/ 1957606 h 2079626"/>
              <a:gd name="connsiteX25" fmla="*/ 3688276 w 3835401"/>
              <a:gd name="connsiteY25" fmla="*/ 1849236 h 2079626"/>
              <a:gd name="connsiteX26" fmla="*/ 3419005 w 3835401"/>
              <a:gd name="connsiteY26" fmla="*/ 1547152 h 2079626"/>
              <a:gd name="connsiteX27" fmla="*/ 2695632 w 3835401"/>
              <a:gd name="connsiteY27" fmla="*/ 1361546 h 2079626"/>
              <a:gd name="connsiteX28" fmla="*/ 2115109 w 3835401"/>
              <a:gd name="connsiteY28" fmla="*/ 1474127 h 2079626"/>
              <a:gd name="connsiteX29" fmla="*/ 2033046 w 3835401"/>
              <a:gd name="connsiteY29" fmla="*/ 1440657 h 2079626"/>
              <a:gd name="connsiteX30" fmla="*/ 2066479 w 3835401"/>
              <a:gd name="connsiteY30" fmla="*/ 1361546 h 2079626"/>
              <a:gd name="connsiteX31" fmla="*/ 2695632 w 3835401"/>
              <a:gd name="connsiteY31" fmla="*/ 1239838 h 2079626"/>
              <a:gd name="connsiteX32" fmla="*/ 1139825 w 3835401"/>
              <a:gd name="connsiteY32" fmla="*/ 1239838 h 2079626"/>
              <a:gd name="connsiteX33" fmla="*/ 1927064 w 3835401"/>
              <a:gd name="connsiteY33" fmla="*/ 1443699 h 2079626"/>
              <a:gd name="connsiteX34" fmla="*/ 2256616 w 3835401"/>
              <a:gd name="connsiteY34" fmla="*/ 1833499 h 2079626"/>
              <a:gd name="connsiteX35" fmla="*/ 2276886 w 3835401"/>
              <a:gd name="connsiteY35" fmla="*/ 1967088 h 2079626"/>
              <a:gd name="connsiteX36" fmla="*/ 2280904 w 3835401"/>
              <a:gd name="connsiteY36" fmla="*/ 1972270 h 2079626"/>
              <a:gd name="connsiteX37" fmla="*/ 2279650 w 3835401"/>
              <a:gd name="connsiteY37" fmla="*/ 1984520 h 2079626"/>
              <a:gd name="connsiteX38" fmla="*/ 2279582 w 3835401"/>
              <a:gd name="connsiteY38" fmla="*/ 1984854 h 2079626"/>
              <a:gd name="connsiteX39" fmla="*/ 2279650 w 3835401"/>
              <a:gd name="connsiteY39" fmla="*/ 1985302 h 2079626"/>
              <a:gd name="connsiteX40" fmla="*/ 2185425 w 3835401"/>
              <a:gd name="connsiteY40" fmla="*/ 2079626 h 2079626"/>
              <a:gd name="connsiteX41" fmla="*/ 2185425 w 3835401"/>
              <a:gd name="connsiteY41" fmla="*/ 2079254 h 2079626"/>
              <a:gd name="connsiteX42" fmla="*/ 94150 w 3835401"/>
              <a:gd name="connsiteY42" fmla="*/ 2079254 h 2079626"/>
              <a:gd name="connsiteX43" fmla="*/ 7466 w 3835401"/>
              <a:gd name="connsiteY43" fmla="*/ 2021239 h 2079626"/>
              <a:gd name="connsiteX44" fmla="*/ 159 w 3835401"/>
              <a:gd name="connsiteY44" fmla="*/ 1985302 h 2079626"/>
              <a:gd name="connsiteX45" fmla="*/ 0 w 3835401"/>
              <a:gd name="connsiteY45" fmla="*/ 1985302 h 2079626"/>
              <a:gd name="connsiteX46" fmla="*/ 68 w 3835401"/>
              <a:gd name="connsiteY46" fmla="*/ 1984854 h 2079626"/>
              <a:gd name="connsiteX47" fmla="*/ 0 w 3835401"/>
              <a:gd name="connsiteY47" fmla="*/ 1984520 h 2079626"/>
              <a:gd name="connsiteX48" fmla="*/ 119 w 3835401"/>
              <a:gd name="connsiteY48" fmla="*/ 1984520 h 2079626"/>
              <a:gd name="connsiteX49" fmla="*/ 22987 w 3835401"/>
              <a:gd name="connsiteY49" fmla="*/ 1833499 h 2079626"/>
              <a:gd name="connsiteX50" fmla="*/ 349547 w 3835401"/>
              <a:gd name="connsiteY50" fmla="*/ 1443699 h 2079626"/>
              <a:gd name="connsiteX51" fmla="*/ 1139825 w 3835401"/>
              <a:gd name="connsiteY51" fmla="*/ 1239838 h 2079626"/>
              <a:gd name="connsiteX52" fmla="*/ 2728913 w 3835401"/>
              <a:gd name="connsiteY52" fmla="*/ 122238 h 2079626"/>
              <a:gd name="connsiteX53" fmla="*/ 2279650 w 3835401"/>
              <a:gd name="connsiteY53" fmla="*/ 573088 h 2079626"/>
              <a:gd name="connsiteX54" fmla="*/ 2728913 w 3835401"/>
              <a:gd name="connsiteY54" fmla="*/ 1023938 h 2079626"/>
              <a:gd name="connsiteX55" fmla="*/ 3178176 w 3835401"/>
              <a:gd name="connsiteY55" fmla="*/ 573088 h 2079626"/>
              <a:gd name="connsiteX56" fmla="*/ 2728913 w 3835401"/>
              <a:gd name="connsiteY56" fmla="*/ 122238 h 2079626"/>
              <a:gd name="connsiteX57" fmla="*/ 1096963 w 3835401"/>
              <a:gd name="connsiteY57" fmla="*/ 122238 h 2079626"/>
              <a:gd name="connsiteX58" fmla="*/ 647700 w 3835401"/>
              <a:gd name="connsiteY58" fmla="*/ 573088 h 2079626"/>
              <a:gd name="connsiteX59" fmla="*/ 1096963 w 3835401"/>
              <a:gd name="connsiteY59" fmla="*/ 1023938 h 2079626"/>
              <a:gd name="connsiteX60" fmla="*/ 1546226 w 3835401"/>
              <a:gd name="connsiteY60" fmla="*/ 573088 h 2079626"/>
              <a:gd name="connsiteX61" fmla="*/ 1096963 w 3835401"/>
              <a:gd name="connsiteY61" fmla="*/ 122238 h 2079626"/>
              <a:gd name="connsiteX62" fmla="*/ 2728913 w 3835401"/>
              <a:gd name="connsiteY62" fmla="*/ 0 h 2079626"/>
              <a:gd name="connsiteX63" fmla="*/ 3300413 w 3835401"/>
              <a:gd name="connsiteY63" fmla="*/ 572294 h 2079626"/>
              <a:gd name="connsiteX64" fmla="*/ 2728913 w 3835401"/>
              <a:gd name="connsiteY64" fmla="*/ 1144588 h 2079626"/>
              <a:gd name="connsiteX65" fmla="*/ 2157413 w 3835401"/>
              <a:gd name="connsiteY65" fmla="*/ 572294 h 2079626"/>
              <a:gd name="connsiteX66" fmla="*/ 2728913 w 3835401"/>
              <a:gd name="connsiteY66" fmla="*/ 0 h 2079626"/>
              <a:gd name="connsiteX67" fmla="*/ 1096963 w 3835401"/>
              <a:gd name="connsiteY67" fmla="*/ 0 h 2079626"/>
              <a:gd name="connsiteX68" fmla="*/ 1668463 w 3835401"/>
              <a:gd name="connsiteY68" fmla="*/ 572294 h 2079626"/>
              <a:gd name="connsiteX69" fmla="*/ 1096963 w 3835401"/>
              <a:gd name="connsiteY69" fmla="*/ 1144588 h 2079626"/>
              <a:gd name="connsiteX70" fmla="*/ 525463 w 3835401"/>
              <a:gd name="connsiteY70" fmla="*/ 572294 h 2079626"/>
              <a:gd name="connsiteX71" fmla="*/ 1096963 w 3835401"/>
              <a:gd name="connsiteY71" fmla="*/ 0 h 2079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3835401" h="2079626">
                <a:moveTo>
                  <a:pt x="1139825" y="1361546"/>
                </a:moveTo>
                <a:cubicBezTo>
                  <a:pt x="863228" y="1361546"/>
                  <a:pt x="607907" y="1428486"/>
                  <a:pt x="413377" y="1547152"/>
                </a:cubicBezTo>
                <a:cubicBezTo>
                  <a:pt x="272039" y="1636151"/>
                  <a:pt x="178573" y="1745688"/>
                  <a:pt x="140674" y="1864211"/>
                </a:cubicBezTo>
                <a:lnTo>
                  <a:pt x="126042" y="1957012"/>
                </a:lnTo>
                <a:lnTo>
                  <a:pt x="461033" y="1956966"/>
                </a:lnTo>
                <a:cubicBezTo>
                  <a:pt x="1944042" y="1956544"/>
                  <a:pt x="2071827" y="1953663"/>
                  <a:pt x="2148822" y="1955700"/>
                </a:cubicBezTo>
                <a:lnTo>
                  <a:pt x="2153416" y="1955865"/>
                </a:lnTo>
                <a:lnTo>
                  <a:pt x="2138930" y="1864211"/>
                </a:lnTo>
                <a:cubicBezTo>
                  <a:pt x="2100888" y="1745688"/>
                  <a:pt x="2006852" y="1636151"/>
                  <a:pt x="1863234" y="1547152"/>
                </a:cubicBezTo>
                <a:cubicBezTo>
                  <a:pt x="1671744" y="1428486"/>
                  <a:pt x="1413383" y="1361546"/>
                  <a:pt x="1139825" y="1361546"/>
                </a:cubicBezTo>
                <a:close/>
                <a:moveTo>
                  <a:pt x="2695632" y="1239838"/>
                </a:moveTo>
                <a:cubicBezTo>
                  <a:pt x="2990452" y="1239838"/>
                  <a:pt x="3270076" y="1312863"/>
                  <a:pt x="3482832" y="1443699"/>
                </a:cubicBezTo>
                <a:cubicBezTo>
                  <a:pt x="3653798" y="1550955"/>
                  <a:pt x="3766635" y="1685595"/>
                  <a:pt x="3812368" y="1833499"/>
                </a:cubicBezTo>
                <a:lnTo>
                  <a:pt x="3835344" y="1984924"/>
                </a:lnTo>
                <a:lnTo>
                  <a:pt x="3835400" y="1985060"/>
                </a:lnTo>
                <a:lnTo>
                  <a:pt x="3835380" y="1985160"/>
                </a:lnTo>
                <a:lnTo>
                  <a:pt x="3835401" y="1985302"/>
                </a:lnTo>
                <a:cubicBezTo>
                  <a:pt x="3835401" y="2037028"/>
                  <a:pt x="3792850" y="2079626"/>
                  <a:pt x="3738141" y="2079626"/>
                </a:cubicBezTo>
                <a:lnTo>
                  <a:pt x="3738136" y="2079625"/>
                </a:lnTo>
                <a:lnTo>
                  <a:pt x="3297752" y="2079625"/>
                </a:lnTo>
                <a:cubicBezTo>
                  <a:pt x="2403934" y="2079625"/>
                  <a:pt x="2403934" y="2079625"/>
                  <a:pt x="2403934" y="2079625"/>
                </a:cubicBezTo>
                <a:cubicBezTo>
                  <a:pt x="2370503" y="2079625"/>
                  <a:pt x="2343150" y="2052171"/>
                  <a:pt x="2343150" y="2018615"/>
                </a:cubicBezTo>
                <a:cubicBezTo>
                  <a:pt x="2343150" y="1985060"/>
                  <a:pt x="2370503" y="1957606"/>
                  <a:pt x="2403934" y="1957606"/>
                </a:cubicBezTo>
                <a:cubicBezTo>
                  <a:pt x="3390916" y="1957606"/>
                  <a:pt x="3637662" y="1957606"/>
                  <a:pt x="3699348" y="1957606"/>
                </a:cubicBezTo>
                <a:lnTo>
                  <a:pt x="3709531" y="1957606"/>
                </a:lnTo>
                <a:lnTo>
                  <a:pt x="3688276" y="1849236"/>
                </a:lnTo>
                <a:cubicBezTo>
                  <a:pt x="3648099" y="1736560"/>
                  <a:pt x="3555778" y="1631587"/>
                  <a:pt x="3419005" y="1547152"/>
                </a:cubicBezTo>
                <a:cubicBezTo>
                  <a:pt x="3224485" y="1428486"/>
                  <a:pt x="2969176" y="1361546"/>
                  <a:pt x="2695632" y="1361546"/>
                </a:cubicBezTo>
                <a:cubicBezTo>
                  <a:pt x="2485914" y="1361546"/>
                  <a:pt x="2285315" y="1401102"/>
                  <a:pt x="2115109" y="1474127"/>
                </a:cubicBezTo>
                <a:cubicBezTo>
                  <a:pt x="2084715" y="1486297"/>
                  <a:pt x="2048243" y="1471084"/>
                  <a:pt x="2033046" y="1440657"/>
                </a:cubicBezTo>
                <a:cubicBezTo>
                  <a:pt x="2020888" y="1410230"/>
                  <a:pt x="2036085" y="1373717"/>
                  <a:pt x="2066479" y="1361546"/>
                </a:cubicBezTo>
                <a:cubicBezTo>
                  <a:pt x="2251882" y="1282436"/>
                  <a:pt x="2467678" y="1239838"/>
                  <a:pt x="2695632" y="1239838"/>
                </a:cubicBezTo>
                <a:close/>
                <a:moveTo>
                  <a:pt x="1139825" y="1239838"/>
                </a:moveTo>
                <a:cubicBezTo>
                  <a:pt x="1434660" y="1239838"/>
                  <a:pt x="1717337" y="1312863"/>
                  <a:pt x="1927064" y="1443699"/>
                </a:cubicBezTo>
                <a:cubicBezTo>
                  <a:pt x="2098038" y="1550955"/>
                  <a:pt x="2210881" y="1685595"/>
                  <a:pt x="2256616" y="1833499"/>
                </a:cubicBezTo>
                <a:lnTo>
                  <a:pt x="2276886" y="1967088"/>
                </a:lnTo>
                <a:lnTo>
                  <a:pt x="2280904" y="1972270"/>
                </a:lnTo>
                <a:cubicBezTo>
                  <a:pt x="2280861" y="1975446"/>
                  <a:pt x="2279650" y="1979426"/>
                  <a:pt x="2279650" y="1984520"/>
                </a:cubicBezTo>
                <a:lnTo>
                  <a:pt x="2279582" y="1984854"/>
                </a:lnTo>
                <a:lnTo>
                  <a:pt x="2279650" y="1985302"/>
                </a:lnTo>
                <a:cubicBezTo>
                  <a:pt x="2279650" y="2037028"/>
                  <a:pt x="2237097" y="2079626"/>
                  <a:pt x="2185425" y="2079626"/>
                </a:cubicBezTo>
                <a:lnTo>
                  <a:pt x="2185425" y="2079254"/>
                </a:lnTo>
                <a:lnTo>
                  <a:pt x="94150" y="2079254"/>
                </a:lnTo>
                <a:cubicBezTo>
                  <a:pt x="55510" y="2079254"/>
                  <a:pt x="21871" y="2055189"/>
                  <a:pt x="7466" y="2021239"/>
                </a:cubicBezTo>
                <a:lnTo>
                  <a:pt x="159" y="1985302"/>
                </a:lnTo>
                <a:lnTo>
                  <a:pt x="0" y="1985302"/>
                </a:lnTo>
                <a:lnTo>
                  <a:pt x="68" y="1984854"/>
                </a:lnTo>
                <a:lnTo>
                  <a:pt x="0" y="1984520"/>
                </a:lnTo>
                <a:lnTo>
                  <a:pt x="119" y="1984520"/>
                </a:lnTo>
                <a:lnTo>
                  <a:pt x="22987" y="1833499"/>
                </a:lnTo>
                <a:cubicBezTo>
                  <a:pt x="68580" y="1685595"/>
                  <a:pt x="180853" y="1550955"/>
                  <a:pt x="349547" y="1443699"/>
                </a:cubicBezTo>
                <a:cubicBezTo>
                  <a:pt x="562314" y="1312863"/>
                  <a:pt x="841951" y="1239838"/>
                  <a:pt x="1139825" y="1239838"/>
                </a:cubicBezTo>
                <a:close/>
                <a:moveTo>
                  <a:pt x="2728913" y="122238"/>
                </a:moveTo>
                <a:cubicBezTo>
                  <a:pt x="2480792" y="122238"/>
                  <a:pt x="2279650" y="324090"/>
                  <a:pt x="2279650" y="573088"/>
                </a:cubicBezTo>
                <a:cubicBezTo>
                  <a:pt x="2279650" y="822086"/>
                  <a:pt x="2480792" y="1023938"/>
                  <a:pt x="2728913" y="1023938"/>
                </a:cubicBezTo>
                <a:cubicBezTo>
                  <a:pt x="2977034" y="1023938"/>
                  <a:pt x="3178176" y="822086"/>
                  <a:pt x="3178176" y="573088"/>
                </a:cubicBezTo>
                <a:cubicBezTo>
                  <a:pt x="3178176" y="324090"/>
                  <a:pt x="2977034" y="122238"/>
                  <a:pt x="2728913" y="122238"/>
                </a:cubicBezTo>
                <a:close/>
                <a:moveTo>
                  <a:pt x="1096963" y="122238"/>
                </a:moveTo>
                <a:cubicBezTo>
                  <a:pt x="848842" y="122238"/>
                  <a:pt x="647700" y="324090"/>
                  <a:pt x="647700" y="573088"/>
                </a:cubicBezTo>
                <a:cubicBezTo>
                  <a:pt x="647700" y="822086"/>
                  <a:pt x="848842" y="1023938"/>
                  <a:pt x="1096963" y="1023938"/>
                </a:cubicBezTo>
                <a:cubicBezTo>
                  <a:pt x="1345084" y="1023938"/>
                  <a:pt x="1546226" y="822086"/>
                  <a:pt x="1546226" y="573088"/>
                </a:cubicBezTo>
                <a:cubicBezTo>
                  <a:pt x="1546226" y="324090"/>
                  <a:pt x="1345084" y="122238"/>
                  <a:pt x="1096963" y="122238"/>
                </a:cubicBezTo>
                <a:close/>
                <a:moveTo>
                  <a:pt x="2728913" y="0"/>
                </a:moveTo>
                <a:cubicBezTo>
                  <a:pt x="3044544" y="0"/>
                  <a:pt x="3300413" y="256225"/>
                  <a:pt x="3300413" y="572294"/>
                </a:cubicBezTo>
                <a:cubicBezTo>
                  <a:pt x="3300413" y="888363"/>
                  <a:pt x="3044544" y="1144588"/>
                  <a:pt x="2728913" y="1144588"/>
                </a:cubicBezTo>
                <a:cubicBezTo>
                  <a:pt x="2413282" y="1144588"/>
                  <a:pt x="2157413" y="888363"/>
                  <a:pt x="2157413" y="572294"/>
                </a:cubicBezTo>
                <a:cubicBezTo>
                  <a:pt x="2157413" y="256225"/>
                  <a:pt x="2413282" y="0"/>
                  <a:pt x="2728913" y="0"/>
                </a:cubicBezTo>
                <a:close/>
                <a:moveTo>
                  <a:pt x="1096963" y="0"/>
                </a:moveTo>
                <a:cubicBezTo>
                  <a:pt x="1412594" y="0"/>
                  <a:pt x="1668463" y="256225"/>
                  <a:pt x="1668463" y="572294"/>
                </a:cubicBezTo>
                <a:cubicBezTo>
                  <a:pt x="1668463" y="888363"/>
                  <a:pt x="1412594" y="1144588"/>
                  <a:pt x="1096963" y="1144588"/>
                </a:cubicBezTo>
                <a:cubicBezTo>
                  <a:pt x="781332" y="1144588"/>
                  <a:pt x="525463" y="888363"/>
                  <a:pt x="525463" y="572294"/>
                </a:cubicBezTo>
                <a:cubicBezTo>
                  <a:pt x="525463" y="256225"/>
                  <a:pt x="781332" y="0"/>
                  <a:pt x="109696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/>
              <a:t> 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508000" y="1524299"/>
            <a:ext cx="914400" cy="828375"/>
            <a:chOff x="3382193" y="3592002"/>
            <a:chExt cx="1139204" cy="1139205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826A1A9-B38A-4F7E-9871-D1A1D6FBBE72}"/>
                </a:ext>
              </a:extLst>
            </p:cNvPr>
            <p:cNvSpPr/>
            <p:nvPr/>
          </p:nvSpPr>
          <p:spPr>
            <a:xfrm>
              <a:off x="3382193" y="3592002"/>
              <a:ext cx="1139204" cy="1139205"/>
            </a:xfrm>
            <a:prstGeom prst="ellipse">
              <a:avLst/>
            </a:prstGeom>
            <a:solidFill>
              <a:schemeClr val="accent2"/>
            </a:solidFill>
            <a:ln w="25400">
              <a:noFill/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4" name="Picture 23" descr="A close up of a sign&#10;&#10;Description generated with very high confidence">
              <a:extLst>
                <a:ext uri="{FF2B5EF4-FFF2-40B4-BE49-F238E27FC236}">
                  <a16:creationId xmlns:a16="http://schemas.microsoft.com/office/drawing/2014/main" id="{E5590791-5B1A-4E43-9A69-A34D2B442F5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57010" y="3861822"/>
              <a:ext cx="589571" cy="599564"/>
            </a:xfrm>
            <a:prstGeom prst="rect">
              <a:avLst/>
            </a:prstGeom>
          </p:spPr>
        </p:pic>
      </p:grpSp>
      <p:grpSp>
        <p:nvGrpSpPr>
          <p:cNvPr id="25" name="Group 24"/>
          <p:cNvGrpSpPr/>
          <p:nvPr/>
        </p:nvGrpSpPr>
        <p:grpSpPr>
          <a:xfrm>
            <a:off x="508000" y="2438699"/>
            <a:ext cx="914400" cy="917275"/>
            <a:chOff x="7672502" y="3592002"/>
            <a:chExt cx="1139204" cy="1139205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841F2CE-6494-4957-A9DD-5D0CFE7AAD2B}"/>
                </a:ext>
              </a:extLst>
            </p:cNvPr>
            <p:cNvSpPr/>
            <p:nvPr/>
          </p:nvSpPr>
          <p:spPr>
            <a:xfrm>
              <a:off x="7672502" y="3592002"/>
              <a:ext cx="1139204" cy="1139205"/>
            </a:xfrm>
            <a:prstGeom prst="ellipse">
              <a:avLst/>
            </a:prstGeom>
            <a:solidFill>
              <a:schemeClr val="accent2"/>
            </a:solidFill>
            <a:ln w="25400">
              <a:noFill/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Rectangle 5">
              <a:extLst>
                <a:ext uri="{FF2B5EF4-FFF2-40B4-BE49-F238E27FC236}">
                  <a16:creationId xmlns:a16="http://schemas.microsoft.com/office/drawing/2014/main" id="{38C073F0-0487-4BB9-B93D-1A9BE41B61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47197" y="3944576"/>
              <a:ext cx="589815" cy="434056"/>
            </a:xfrm>
            <a:prstGeom prst="rect">
              <a:avLst/>
            </a:prstGeom>
            <a:noFill/>
            <a:ln w="25400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Line 6">
              <a:extLst>
                <a:ext uri="{FF2B5EF4-FFF2-40B4-BE49-F238E27FC236}">
                  <a16:creationId xmlns:a16="http://schemas.microsoft.com/office/drawing/2014/main" id="{E1BCE292-5A62-4099-8742-E12DA336FC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47197" y="4023495"/>
              <a:ext cx="589815" cy="0"/>
            </a:xfrm>
            <a:prstGeom prst="line">
              <a:avLst/>
            </a:prstGeom>
            <a:noFill/>
            <a:ln w="25400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948B42FD-2700-468C-B726-0F1AB66343A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0639" y="4126298"/>
              <a:ext cx="107994" cy="139147"/>
            </a:xfrm>
            <a:custGeom>
              <a:avLst/>
              <a:gdLst>
                <a:gd name="T0" fmla="*/ 0 w 104"/>
                <a:gd name="T1" fmla="*/ 0 h 134"/>
                <a:gd name="T2" fmla="*/ 104 w 104"/>
                <a:gd name="T3" fmla="*/ 67 h 134"/>
                <a:gd name="T4" fmla="*/ 0 w 104"/>
                <a:gd name="T5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4" h="134">
                  <a:moveTo>
                    <a:pt x="0" y="0"/>
                  </a:moveTo>
                  <a:lnTo>
                    <a:pt x="104" y="67"/>
                  </a:lnTo>
                  <a:lnTo>
                    <a:pt x="0" y="134"/>
                  </a:lnTo>
                </a:path>
              </a:pathLst>
            </a:custGeom>
            <a:noFill/>
            <a:ln w="25400" cap="rnd">
              <a:solidFill>
                <a:schemeClr val="bg2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3FB83CD1-7FF5-403B-B8B0-56756F6E9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5575" y="4126298"/>
              <a:ext cx="107994" cy="139147"/>
            </a:xfrm>
            <a:custGeom>
              <a:avLst/>
              <a:gdLst>
                <a:gd name="T0" fmla="*/ 104 w 104"/>
                <a:gd name="T1" fmla="*/ 134 h 134"/>
                <a:gd name="T2" fmla="*/ 0 w 104"/>
                <a:gd name="T3" fmla="*/ 67 h 134"/>
                <a:gd name="T4" fmla="*/ 104 w 104"/>
                <a:gd name="T5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4" h="134">
                  <a:moveTo>
                    <a:pt x="104" y="134"/>
                  </a:moveTo>
                  <a:lnTo>
                    <a:pt x="0" y="67"/>
                  </a:lnTo>
                  <a:lnTo>
                    <a:pt x="104" y="0"/>
                  </a:lnTo>
                </a:path>
              </a:pathLst>
            </a:custGeom>
            <a:noFill/>
            <a:ln w="25400" cap="rnd">
              <a:solidFill>
                <a:schemeClr val="bg2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" name="Line 12">
              <a:extLst>
                <a:ext uri="{FF2B5EF4-FFF2-40B4-BE49-F238E27FC236}">
                  <a16:creationId xmlns:a16="http://schemas.microsoft.com/office/drawing/2014/main" id="{0F121C29-E72F-42D8-ADCC-017C47EE1BB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222375" y="4097222"/>
              <a:ext cx="39459" cy="168223"/>
            </a:xfrm>
            <a:prstGeom prst="line">
              <a:avLst/>
            </a:prstGeom>
            <a:noFill/>
            <a:ln w="25400" cap="rnd">
              <a:solidFill>
                <a:schemeClr val="bg2"/>
              </a:solidFill>
              <a:prstDash val="solid"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4358362-440D-4184-BF20-36DE7D2C8594}"/>
              </a:ext>
            </a:extLst>
          </p:cNvPr>
          <p:cNvGrpSpPr/>
          <p:nvPr/>
        </p:nvGrpSpPr>
        <p:grpSpPr>
          <a:xfrm>
            <a:off x="508001" y="3415337"/>
            <a:ext cx="914400" cy="943937"/>
            <a:chOff x="6260370" y="3575841"/>
            <a:chExt cx="1139204" cy="1139205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64E4743F-14BF-40F2-BEC3-25801650D6FE}"/>
                </a:ext>
              </a:extLst>
            </p:cNvPr>
            <p:cNvSpPr/>
            <p:nvPr/>
          </p:nvSpPr>
          <p:spPr>
            <a:xfrm>
              <a:off x="6260370" y="3575841"/>
              <a:ext cx="1139204" cy="1139205"/>
            </a:xfrm>
            <a:prstGeom prst="ellipse">
              <a:avLst/>
            </a:prstGeom>
            <a:solidFill>
              <a:schemeClr val="accent2"/>
            </a:solidFill>
            <a:ln w="25400">
              <a:noFill/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2462BAAE-968E-4AB6-803F-CD7CBAE0376F}"/>
                </a:ext>
              </a:extLst>
            </p:cNvPr>
            <p:cNvGrpSpPr/>
            <p:nvPr/>
          </p:nvGrpSpPr>
          <p:grpSpPr>
            <a:xfrm>
              <a:off x="6522353" y="3911227"/>
              <a:ext cx="615238" cy="468432"/>
              <a:chOff x="5149850" y="2533651"/>
              <a:chExt cx="871538" cy="663575"/>
            </a:xfrm>
          </p:grpSpPr>
          <p:sp>
            <p:nvSpPr>
              <p:cNvPr id="35" name="Line 87">
                <a:extLst>
                  <a:ext uri="{FF2B5EF4-FFF2-40B4-BE49-F238E27FC236}">
                    <a16:creationId xmlns:a16="http://schemas.microsoft.com/office/drawing/2014/main" id="{F24E0DE6-5624-412C-9E58-726EA07DDAF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510213" y="2879726"/>
                <a:ext cx="0" cy="136525"/>
              </a:xfrm>
              <a:prstGeom prst="line">
                <a:avLst/>
              </a:prstGeom>
              <a:noFill/>
              <a:ln w="2540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6" name="Line 88">
                <a:extLst>
                  <a:ext uri="{FF2B5EF4-FFF2-40B4-BE49-F238E27FC236}">
                    <a16:creationId xmlns:a16="http://schemas.microsoft.com/office/drawing/2014/main" id="{653D33BC-6546-4D19-9FB3-6A155D9AF4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584825" y="2819401"/>
                <a:ext cx="0" cy="196850"/>
              </a:xfrm>
              <a:prstGeom prst="line">
                <a:avLst/>
              </a:prstGeom>
              <a:noFill/>
              <a:ln w="2540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7" name="Line 89">
                <a:extLst>
                  <a:ext uri="{FF2B5EF4-FFF2-40B4-BE49-F238E27FC236}">
                    <a16:creationId xmlns:a16="http://schemas.microsoft.com/office/drawing/2014/main" id="{A541261E-8D6B-45D7-A78D-1DB876D0265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661025" y="2940051"/>
                <a:ext cx="0" cy="76200"/>
              </a:xfrm>
              <a:prstGeom prst="line">
                <a:avLst/>
              </a:prstGeom>
              <a:noFill/>
              <a:ln w="2540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8" name="Line 90">
                <a:extLst>
                  <a:ext uri="{FF2B5EF4-FFF2-40B4-BE49-F238E27FC236}">
                    <a16:creationId xmlns:a16="http://schemas.microsoft.com/office/drawing/2014/main" id="{5532C8D8-2907-4F05-A33C-0DACC8DE19E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284788" y="2970213"/>
                <a:ext cx="0" cy="46038"/>
              </a:xfrm>
              <a:prstGeom prst="line">
                <a:avLst/>
              </a:prstGeom>
              <a:noFill/>
              <a:ln w="2540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9" name="Line 91">
                <a:extLst>
                  <a:ext uri="{FF2B5EF4-FFF2-40B4-BE49-F238E27FC236}">
                    <a16:creationId xmlns:a16="http://schemas.microsoft.com/office/drawing/2014/main" id="{C419D95E-F4C7-48CA-83A8-BA656290F32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359400" y="2895601"/>
                <a:ext cx="0" cy="120650"/>
              </a:xfrm>
              <a:prstGeom prst="line">
                <a:avLst/>
              </a:prstGeom>
              <a:noFill/>
              <a:ln w="2540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0" name="Line 92">
                <a:extLst>
                  <a:ext uri="{FF2B5EF4-FFF2-40B4-BE49-F238E27FC236}">
                    <a16:creationId xmlns:a16="http://schemas.microsoft.com/office/drawing/2014/main" id="{73E7992F-086B-4725-8D82-D0AE242EC1E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435600" y="2940051"/>
                <a:ext cx="0" cy="76200"/>
              </a:xfrm>
              <a:prstGeom prst="line">
                <a:avLst/>
              </a:prstGeom>
              <a:noFill/>
              <a:ln w="2540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1" name="Line 93">
                <a:extLst>
                  <a:ext uri="{FF2B5EF4-FFF2-40B4-BE49-F238E27FC236}">
                    <a16:creationId xmlns:a16="http://schemas.microsoft.com/office/drawing/2014/main" id="{12C0CE09-3725-49F1-9F93-B209C86BDEE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35638" y="2879726"/>
                <a:ext cx="0" cy="136525"/>
              </a:xfrm>
              <a:prstGeom prst="line">
                <a:avLst/>
              </a:prstGeom>
              <a:noFill/>
              <a:ln w="2540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2" name="Line 94">
                <a:extLst>
                  <a:ext uri="{FF2B5EF4-FFF2-40B4-BE49-F238E27FC236}">
                    <a16:creationId xmlns:a16="http://schemas.microsoft.com/office/drawing/2014/main" id="{F791F5D9-B74F-4925-B30D-A0E456EE33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810250" y="2909888"/>
                <a:ext cx="0" cy="106363"/>
              </a:xfrm>
              <a:prstGeom prst="line">
                <a:avLst/>
              </a:prstGeom>
              <a:noFill/>
              <a:ln w="2540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3" name="Line 95">
                <a:extLst>
                  <a:ext uri="{FF2B5EF4-FFF2-40B4-BE49-F238E27FC236}">
                    <a16:creationId xmlns:a16="http://schemas.microsoft.com/office/drawing/2014/main" id="{791F55A5-95C2-4DA6-A97B-4B6B00182AE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884863" y="2940051"/>
                <a:ext cx="0" cy="76200"/>
              </a:xfrm>
              <a:prstGeom prst="line">
                <a:avLst/>
              </a:prstGeom>
              <a:noFill/>
              <a:ln w="2540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4" name="Rectangle 96">
                <a:extLst>
                  <a:ext uri="{FF2B5EF4-FFF2-40B4-BE49-F238E27FC236}">
                    <a16:creationId xmlns:a16="http://schemas.microsoft.com/office/drawing/2014/main" id="{5B011B0D-B7A7-4BF9-A159-AA91564E00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49850" y="2533651"/>
                <a:ext cx="871538" cy="542925"/>
              </a:xfrm>
              <a:prstGeom prst="rect">
                <a:avLst/>
              </a:prstGeom>
              <a:noFill/>
              <a:ln w="25400" cap="rnd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" name="Line 97">
                <a:extLst>
                  <a:ext uri="{FF2B5EF4-FFF2-40B4-BE49-F238E27FC236}">
                    <a16:creationId xmlns:a16="http://schemas.microsoft.com/office/drawing/2014/main" id="{B0BD1968-C9C1-4C10-A875-72B4F4AE1C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84825" y="3076576"/>
                <a:ext cx="0" cy="120650"/>
              </a:xfrm>
              <a:prstGeom prst="line">
                <a:avLst/>
              </a:prstGeom>
              <a:noFill/>
              <a:ln w="25400" cap="rnd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" name="Line 98">
                <a:extLst>
                  <a:ext uri="{FF2B5EF4-FFF2-40B4-BE49-F238E27FC236}">
                    <a16:creationId xmlns:a16="http://schemas.microsoft.com/office/drawing/2014/main" id="{B2601302-11BA-484C-A19E-86025649F6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35600" y="3197226"/>
                <a:ext cx="300038" cy="0"/>
              </a:xfrm>
              <a:prstGeom prst="line">
                <a:avLst/>
              </a:prstGeom>
              <a:noFill/>
              <a:ln w="25400" cap="rnd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" name="Oval 99">
                <a:extLst>
                  <a:ext uri="{FF2B5EF4-FFF2-40B4-BE49-F238E27FC236}">
                    <a16:creationId xmlns:a16="http://schemas.microsoft.com/office/drawing/2014/main" id="{D0C2E7FA-2FC3-4EED-81F2-EA9B83D9B1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26063" y="2627313"/>
                <a:ext cx="60325" cy="60325"/>
              </a:xfrm>
              <a:prstGeom prst="ellipse">
                <a:avLst/>
              </a:prstGeom>
              <a:noFill/>
              <a:ln w="25400" cap="rnd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" name="Oval 100">
                <a:extLst>
                  <a:ext uri="{FF2B5EF4-FFF2-40B4-BE49-F238E27FC236}">
                    <a16:creationId xmlns:a16="http://schemas.microsoft.com/office/drawing/2014/main" id="{DA8BACFA-AA42-4F45-8109-11AF1BEF2A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27638" y="2763838"/>
                <a:ext cx="60325" cy="60325"/>
              </a:xfrm>
              <a:prstGeom prst="ellipse">
                <a:avLst/>
              </a:prstGeom>
              <a:noFill/>
              <a:ln w="25400" cap="rnd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" name="Oval 101">
                <a:extLst>
                  <a:ext uri="{FF2B5EF4-FFF2-40B4-BE49-F238E27FC236}">
                    <a16:creationId xmlns:a16="http://schemas.microsoft.com/office/drawing/2014/main" id="{1C5A5687-A853-4729-8339-6E05FFAB45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1000" y="2709863"/>
                <a:ext cx="60325" cy="60325"/>
              </a:xfrm>
              <a:prstGeom prst="ellipse">
                <a:avLst/>
              </a:prstGeom>
              <a:noFill/>
              <a:ln w="25400" cap="rnd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" name="Oval 102">
                <a:extLst>
                  <a:ext uri="{FF2B5EF4-FFF2-40B4-BE49-F238E27FC236}">
                    <a16:creationId xmlns:a16="http://schemas.microsoft.com/office/drawing/2014/main" id="{1D9345BD-EE21-4E36-97A6-647437033A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89588" y="2597151"/>
                <a:ext cx="58738" cy="60325"/>
              </a:xfrm>
              <a:prstGeom prst="ellipse">
                <a:avLst/>
              </a:prstGeom>
              <a:noFill/>
              <a:ln w="25400" cap="rnd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" name="Oval 103">
                <a:extLst>
                  <a:ext uri="{FF2B5EF4-FFF2-40B4-BE49-F238E27FC236}">
                    <a16:creationId xmlns:a16="http://schemas.microsoft.com/office/drawing/2014/main" id="{96263881-9FAE-4A12-8826-3A101C8496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49925" y="2616201"/>
                <a:ext cx="180975" cy="180975"/>
              </a:xfrm>
              <a:prstGeom prst="ellipse">
                <a:avLst/>
              </a:prstGeom>
              <a:noFill/>
              <a:ln w="25400" cap="rnd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" name="Freeform 104">
                <a:extLst>
                  <a:ext uri="{FF2B5EF4-FFF2-40B4-BE49-F238E27FC236}">
                    <a16:creationId xmlns:a16="http://schemas.microsoft.com/office/drawing/2014/main" id="{2D60B638-B5AF-4EBA-9CAA-67494C7C6E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0413" y="2616201"/>
                <a:ext cx="87313" cy="90488"/>
              </a:xfrm>
              <a:custGeom>
                <a:avLst/>
                <a:gdLst>
                  <a:gd name="T0" fmla="*/ 0 w 55"/>
                  <a:gd name="T1" fmla="*/ 0 h 57"/>
                  <a:gd name="T2" fmla="*/ 0 w 55"/>
                  <a:gd name="T3" fmla="*/ 57 h 57"/>
                  <a:gd name="T4" fmla="*/ 55 w 55"/>
                  <a:gd name="T5" fmla="*/ 4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5" h="57">
                    <a:moveTo>
                      <a:pt x="0" y="0"/>
                    </a:moveTo>
                    <a:lnTo>
                      <a:pt x="0" y="57"/>
                    </a:lnTo>
                    <a:lnTo>
                      <a:pt x="55" y="45"/>
                    </a:lnTo>
                  </a:path>
                </a:pathLst>
              </a:custGeom>
              <a:noFill/>
              <a:ln w="25400" cap="rnd">
                <a:solidFill>
                  <a:schemeClr val="bg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" name="Line 105">
                <a:extLst>
                  <a:ext uri="{FF2B5EF4-FFF2-40B4-BE49-F238E27FC236}">
                    <a16:creationId xmlns:a16="http://schemas.microsoft.com/office/drawing/2014/main" id="{4E1EA1AB-1CBC-4131-8046-E40AC772AB3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40413" y="2706688"/>
                <a:ext cx="63500" cy="63500"/>
              </a:xfrm>
              <a:prstGeom prst="line">
                <a:avLst/>
              </a:prstGeom>
              <a:noFill/>
              <a:ln w="25400" cap="rnd">
                <a:solidFill>
                  <a:schemeClr val="bg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" name="Line 106">
                <a:extLst>
                  <a:ext uri="{FF2B5EF4-FFF2-40B4-BE49-F238E27FC236}">
                    <a16:creationId xmlns:a16="http://schemas.microsoft.com/office/drawing/2014/main" id="{CB6431DE-A3D7-40CD-8788-A8DA3960639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281613" y="2684463"/>
                <a:ext cx="58738" cy="85725"/>
              </a:xfrm>
              <a:prstGeom prst="line">
                <a:avLst/>
              </a:prstGeom>
              <a:noFill/>
              <a:ln w="25400" cap="rnd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" name="Line 107">
                <a:extLst>
                  <a:ext uri="{FF2B5EF4-FFF2-40B4-BE49-F238E27FC236}">
                    <a16:creationId xmlns:a16="http://schemas.microsoft.com/office/drawing/2014/main" id="{6B2EAC07-AD0F-4A27-826F-38A2D3B75EE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381625" y="2673351"/>
                <a:ext cx="84138" cy="52388"/>
              </a:xfrm>
              <a:prstGeom prst="line">
                <a:avLst/>
              </a:prstGeom>
              <a:noFill/>
              <a:ln w="25400" cap="rnd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" name="Line 108">
                <a:extLst>
                  <a:ext uri="{FF2B5EF4-FFF2-40B4-BE49-F238E27FC236}">
                    <a16:creationId xmlns:a16="http://schemas.microsoft.com/office/drawing/2014/main" id="{FCA49FA6-0AA4-47CF-B83D-0C4BC9F7F9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518150" y="2649538"/>
                <a:ext cx="82550" cy="76200"/>
              </a:xfrm>
              <a:prstGeom prst="line">
                <a:avLst/>
              </a:prstGeom>
              <a:noFill/>
              <a:ln w="25400" cap="rnd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1C2BE748-62EC-407E-8F98-A64EDC7B27CD}"/>
              </a:ext>
            </a:extLst>
          </p:cNvPr>
          <p:cNvGrpSpPr/>
          <p:nvPr/>
        </p:nvGrpSpPr>
        <p:grpSpPr>
          <a:xfrm>
            <a:off x="508000" y="4450344"/>
            <a:ext cx="914400" cy="912231"/>
            <a:chOff x="10392378" y="4100076"/>
            <a:chExt cx="1139204" cy="1139205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9C4E1C71-BD0D-4DF5-846C-551F42E698C0}"/>
                </a:ext>
              </a:extLst>
            </p:cNvPr>
            <p:cNvSpPr/>
            <p:nvPr/>
          </p:nvSpPr>
          <p:spPr>
            <a:xfrm>
              <a:off x="10392378" y="4100076"/>
              <a:ext cx="1139204" cy="1139205"/>
            </a:xfrm>
            <a:prstGeom prst="ellipse">
              <a:avLst/>
            </a:prstGeom>
            <a:solidFill>
              <a:schemeClr val="accent2"/>
            </a:solidFill>
            <a:ln w="25400">
              <a:noFill/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D067D027-B540-4331-A97A-5216BBBBDBB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37702" y="4355534"/>
              <a:ext cx="648556" cy="62828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158384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/>
          <p:cNvSpPr/>
          <p:nvPr/>
        </p:nvSpPr>
        <p:spPr>
          <a:xfrm>
            <a:off x="7987237" y="0"/>
            <a:ext cx="4204763" cy="6751982"/>
          </a:xfrm>
          <a:custGeom>
            <a:avLst/>
            <a:gdLst>
              <a:gd name="connsiteX0" fmla="*/ 826228 w 4204763"/>
              <a:gd name="connsiteY0" fmla="*/ 0 h 6751982"/>
              <a:gd name="connsiteX1" fmla="*/ 4204763 w 4204763"/>
              <a:gd name="connsiteY1" fmla="*/ 0 h 6751982"/>
              <a:gd name="connsiteX2" fmla="*/ 4204763 w 4204763"/>
              <a:gd name="connsiteY2" fmla="*/ 6751982 h 6751982"/>
              <a:gd name="connsiteX3" fmla="*/ 4201715 w 4204763"/>
              <a:gd name="connsiteY3" fmla="*/ 6751982 h 6751982"/>
              <a:gd name="connsiteX4" fmla="*/ 4201715 w 4204763"/>
              <a:gd name="connsiteY4" fmla="*/ 6748678 h 6751982"/>
              <a:gd name="connsiteX5" fmla="*/ 0 w 4204763"/>
              <a:gd name="connsiteY5" fmla="*/ 6704685 h 6751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04763" h="6751982">
                <a:moveTo>
                  <a:pt x="826228" y="0"/>
                </a:moveTo>
                <a:lnTo>
                  <a:pt x="4204763" y="0"/>
                </a:lnTo>
                <a:lnTo>
                  <a:pt x="4204763" y="6751982"/>
                </a:lnTo>
                <a:lnTo>
                  <a:pt x="4201715" y="6751982"/>
                </a:lnTo>
                <a:lnTo>
                  <a:pt x="4201715" y="6748678"/>
                </a:lnTo>
                <a:lnTo>
                  <a:pt x="0" y="6704685"/>
                </a:lnTo>
                <a:close/>
              </a:path>
            </a:pathLst>
          </a:custGeom>
          <a:solidFill>
            <a:schemeClr val="accent1">
              <a:alpha val="97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</a:t>
            </a:r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08000" y="1438273"/>
            <a:ext cx="7645400" cy="4429239"/>
          </a:xfrm>
          <a:prstGeom prst="rect">
            <a:avLst/>
          </a:prstGeom>
          <a:noFill/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000" b="1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accurately predict the completion time of projects for the DCX team.</a:t>
            </a:r>
          </a:p>
          <a:p>
            <a:endParaRPr lang="en-US" sz="20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catalog limitations of existing data structures relevant to DCX project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recommend enhancements and the capabilities they would provide to the DCX team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develop a framework that can be extended to additional types of projects.</a:t>
            </a:r>
          </a:p>
          <a:p>
            <a:endParaRPr lang="en-US" sz="20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16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363"/>
            <a:fld id="{727B4C2D-45E2-4621-8491-2995EB46A674}" type="slidenum">
              <a:rPr lang="en-US" smtClean="0"/>
              <a:pPr defTabSz="914363"/>
              <a:t>3</a:t>
            </a:fld>
            <a:endParaRPr lang="en-US"/>
          </a:p>
        </p:txBody>
      </p:sp>
      <p:sp>
        <p:nvSpPr>
          <p:cNvPr id="8" name="Freeform: Shape 7"/>
          <p:cNvSpPr/>
          <p:nvPr/>
        </p:nvSpPr>
        <p:spPr>
          <a:xfrm>
            <a:off x="0" y="6515100"/>
            <a:ext cx="12192000" cy="342900"/>
          </a:xfrm>
          <a:custGeom>
            <a:avLst/>
            <a:gdLst>
              <a:gd name="connsiteX0" fmla="*/ 12192000 w 12192000"/>
              <a:gd name="connsiteY0" fmla="*/ 0 h 342900"/>
              <a:gd name="connsiteX1" fmla="*/ 12192000 w 12192000"/>
              <a:gd name="connsiteY1" fmla="*/ 342900 h 342900"/>
              <a:gd name="connsiteX2" fmla="*/ 0 w 12192000"/>
              <a:gd name="connsiteY2" fmla="*/ 342900 h 342900"/>
              <a:gd name="connsiteX3" fmla="*/ 0 w 12192000"/>
              <a:gd name="connsiteY3" fmla="*/ 260092 h 34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900">
                <a:moveTo>
                  <a:pt x="12192000" y="0"/>
                </a:moveTo>
                <a:lnTo>
                  <a:pt x="12192000" y="342900"/>
                </a:lnTo>
                <a:lnTo>
                  <a:pt x="0" y="342900"/>
                </a:lnTo>
                <a:lnTo>
                  <a:pt x="0" y="260092"/>
                </a:lnTo>
                <a:close/>
              </a:path>
            </a:pathLst>
          </a:custGeom>
          <a:solidFill>
            <a:schemeClr val="accent1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800">
                <a:solidFill>
                  <a:schemeClr val="bg1">
                    <a:lumMod val="75000"/>
                  </a:schemeClr>
                </a:solidFill>
              </a:rPr>
              <a:t>©Valorem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000" y="6162485"/>
            <a:ext cx="400543" cy="400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05505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/>
          <p:cNvSpPr/>
          <p:nvPr/>
        </p:nvSpPr>
        <p:spPr>
          <a:xfrm>
            <a:off x="7987237" y="0"/>
            <a:ext cx="4204763" cy="6751982"/>
          </a:xfrm>
          <a:custGeom>
            <a:avLst/>
            <a:gdLst>
              <a:gd name="connsiteX0" fmla="*/ 826228 w 4204763"/>
              <a:gd name="connsiteY0" fmla="*/ 0 h 6751982"/>
              <a:gd name="connsiteX1" fmla="*/ 4204763 w 4204763"/>
              <a:gd name="connsiteY1" fmla="*/ 0 h 6751982"/>
              <a:gd name="connsiteX2" fmla="*/ 4204763 w 4204763"/>
              <a:gd name="connsiteY2" fmla="*/ 6751982 h 6751982"/>
              <a:gd name="connsiteX3" fmla="*/ 4201715 w 4204763"/>
              <a:gd name="connsiteY3" fmla="*/ 6751982 h 6751982"/>
              <a:gd name="connsiteX4" fmla="*/ 4201715 w 4204763"/>
              <a:gd name="connsiteY4" fmla="*/ 6748678 h 6751982"/>
              <a:gd name="connsiteX5" fmla="*/ 0 w 4204763"/>
              <a:gd name="connsiteY5" fmla="*/ 6704685 h 6751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04763" h="6751982">
                <a:moveTo>
                  <a:pt x="826228" y="0"/>
                </a:moveTo>
                <a:lnTo>
                  <a:pt x="4204763" y="0"/>
                </a:lnTo>
                <a:lnTo>
                  <a:pt x="4204763" y="6751982"/>
                </a:lnTo>
                <a:lnTo>
                  <a:pt x="4201715" y="6751982"/>
                </a:lnTo>
                <a:lnTo>
                  <a:pt x="4201715" y="6748678"/>
                </a:lnTo>
                <a:lnTo>
                  <a:pt x="0" y="6704685"/>
                </a:lnTo>
                <a:close/>
              </a:path>
            </a:pathLst>
          </a:custGeom>
          <a:solidFill>
            <a:schemeClr val="accent1">
              <a:alpha val="97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thodology</a:t>
            </a:r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07999" y="1438273"/>
            <a:ext cx="8359553" cy="4429239"/>
          </a:xfrm>
          <a:prstGeom prst="rect">
            <a:avLst/>
          </a:prstGeom>
          <a:noFill/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tabLst>
                <a:tab pos="457200" algn="l"/>
              </a:tabLst>
            </a:pPr>
            <a:r>
              <a:rPr lang="en-US" b="1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ep 1: Data Investigation</a:t>
            </a:r>
          </a:p>
          <a:p>
            <a:pPr marL="285750" indent="-28575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	</a:t>
            </a:r>
            <a:r>
              <a:rPr lang="en-US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 Data Exists Today?</a:t>
            </a:r>
          </a:p>
          <a:p>
            <a:pPr marL="285750" indent="-28575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	</a:t>
            </a:r>
            <a:r>
              <a:rPr lang="en-US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s It Suitable For This Type Of Analysis?</a:t>
            </a:r>
          </a:p>
          <a:p>
            <a:pPr marL="285750" indent="-28575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	</a:t>
            </a:r>
            <a:r>
              <a:rPr lang="en-US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re There Any Underlying Assumptions?</a:t>
            </a:r>
          </a:p>
          <a:p>
            <a:pPr>
              <a:tabLst>
                <a:tab pos="457200" algn="l"/>
              </a:tabLst>
            </a:pPr>
            <a:endParaRPr lang="en-US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tabLst>
                <a:tab pos="457200" algn="l"/>
              </a:tabLst>
            </a:pPr>
            <a:r>
              <a:rPr lang="en-US" b="1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ep 2: Compile/Create Necessary Datasets</a:t>
            </a:r>
          </a:p>
          <a:p>
            <a:pPr marL="285750" indent="-28575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	Combine Relevant Data into Format Suitable for Machine Learning</a:t>
            </a:r>
          </a:p>
          <a:p>
            <a:pPr marL="285750" indent="-28575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	Test Underlying Assumptions, Including Those Provided By DCX Team</a:t>
            </a:r>
          </a:p>
          <a:p>
            <a:pPr marL="285750" indent="-28575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	Discover Any Nuances Not Uncovered in Step 1</a:t>
            </a:r>
          </a:p>
          <a:p>
            <a:pPr>
              <a:tabLst>
                <a:tab pos="457200" algn="l"/>
              </a:tabLst>
            </a:pPr>
            <a:endParaRPr lang="en-US" dirty="0" smtClean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tabLst>
                <a:tab pos="457200" algn="l"/>
              </a:tabLst>
            </a:pPr>
            <a:r>
              <a:rPr lang="en-US" b="1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ep 3: Build Predictive Framework</a:t>
            </a:r>
          </a:p>
          <a:p>
            <a:pPr marL="285750" indent="-28575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	Train and Optimize Predictive Models</a:t>
            </a:r>
          </a:p>
          <a:p>
            <a:pPr marL="285750" indent="-28575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	Examine Results</a:t>
            </a:r>
          </a:p>
          <a:p>
            <a:pPr marL="285750" indent="-28575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	</a:t>
            </a:r>
            <a:r>
              <a:rPr lang="en-US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rate As Need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363"/>
            <a:fld id="{727B4C2D-45E2-4621-8491-2995EB46A674}" type="slidenum">
              <a:rPr lang="en-US" smtClean="0"/>
              <a:pPr defTabSz="914363"/>
              <a:t>4</a:t>
            </a:fld>
            <a:endParaRPr lang="en-US"/>
          </a:p>
        </p:txBody>
      </p:sp>
      <p:sp>
        <p:nvSpPr>
          <p:cNvPr id="8" name="Freeform: Shape 7"/>
          <p:cNvSpPr/>
          <p:nvPr/>
        </p:nvSpPr>
        <p:spPr>
          <a:xfrm>
            <a:off x="0" y="6515100"/>
            <a:ext cx="12192000" cy="342900"/>
          </a:xfrm>
          <a:custGeom>
            <a:avLst/>
            <a:gdLst>
              <a:gd name="connsiteX0" fmla="*/ 12192000 w 12192000"/>
              <a:gd name="connsiteY0" fmla="*/ 0 h 342900"/>
              <a:gd name="connsiteX1" fmla="*/ 12192000 w 12192000"/>
              <a:gd name="connsiteY1" fmla="*/ 342900 h 342900"/>
              <a:gd name="connsiteX2" fmla="*/ 0 w 12192000"/>
              <a:gd name="connsiteY2" fmla="*/ 342900 h 342900"/>
              <a:gd name="connsiteX3" fmla="*/ 0 w 12192000"/>
              <a:gd name="connsiteY3" fmla="*/ 260092 h 34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900">
                <a:moveTo>
                  <a:pt x="12192000" y="0"/>
                </a:moveTo>
                <a:lnTo>
                  <a:pt x="12192000" y="342900"/>
                </a:lnTo>
                <a:lnTo>
                  <a:pt x="0" y="342900"/>
                </a:lnTo>
                <a:lnTo>
                  <a:pt x="0" y="260092"/>
                </a:lnTo>
                <a:close/>
              </a:path>
            </a:pathLst>
          </a:custGeom>
          <a:solidFill>
            <a:schemeClr val="accent1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800">
                <a:solidFill>
                  <a:schemeClr val="bg1">
                    <a:lumMod val="75000"/>
                  </a:schemeClr>
                </a:solidFill>
              </a:rPr>
              <a:t>©Valorem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000" y="6162485"/>
            <a:ext cx="400543" cy="400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71411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/>
          <p:cNvSpPr/>
          <p:nvPr/>
        </p:nvSpPr>
        <p:spPr>
          <a:xfrm>
            <a:off x="7987237" y="0"/>
            <a:ext cx="4204763" cy="6751982"/>
          </a:xfrm>
          <a:custGeom>
            <a:avLst/>
            <a:gdLst>
              <a:gd name="connsiteX0" fmla="*/ 826228 w 4204763"/>
              <a:gd name="connsiteY0" fmla="*/ 0 h 6751982"/>
              <a:gd name="connsiteX1" fmla="*/ 4204763 w 4204763"/>
              <a:gd name="connsiteY1" fmla="*/ 0 h 6751982"/>
              <a:gd name="connsiteX2" fmla="*/ 4204763 w 4204763"/>
              <a:gd name="connsiteY2" fmla="*/ 6751982 h 6751982"/>
              <a:gd name="connsiteX3" fmla="*/ 4201715 w 4204763"/>
              <a:gd name="connsiteY3" fmla="*/ 6751982 h 6751982"/>
              <a:gd name="connsiteX4" fmla="*/ 4201715 w 4204763"/>
              <a:gd name="connsiteY4" fmla="*/ 6748678 h 6751982"/>
              <a:gd name="connsiteX5" fmla="*/ 0 w 4204763"/>
              <a:gd name="connsiteY5" fmla="*/ 6704685 h 6751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04763" h="6751982">
                <a:moveTo>
                  <a:pt x="826228" y="0"/>
                </a:moveTo>
                <a:lnTo>
                  <a:pt x="4204763" y="0"/>
                </a:lnTo>
                <a:lnTo>
                  <a:pt x="4204763" y="6751982"/>
                </a:lnTo>
                <a:lnTo>
                  <a:pt x="4201715" y="6751982"/>
                </a:lnTo>
                <a:lnTo>
                  <a:pt x="4201715" y="6748678"/>
                </a:lnTo>
                <a:lnTo>
                  <a:pt x="0" y="6704685"/>
                </a:lnTo>
                <a:close/>
              </a:path>
            </a:pathLst>
          </a:custGeom>
          <a:solidFill>
            <a:schemeClr val="accent1">
              <a:alpha val="97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s</a:t>
            </a:r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08000" y="1438273"/>
            <a:ext cx="8019312" cy="4814755"/>
          </a:xfrm>
          <a:prstGeom prst="rect">
            <a:avLst/>
          </a:prstGeom>
          <a:noFill/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000" b="1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itial Data Investigation</a:t>
            </a:r>
          </a:p>
          <a:p>
            <a:pPr marL="457200" indent="-457200" defTabSz="4572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e Build data alone was insufficient to support an initial predictive model as it contained a very small number of projects.</a:t>
            </a:r>
          </a:p>
          <a:p>
            <a:pPr marL="457200" indent="-457200"/>
            <a:endParaRPr lang="en-US" sz="20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/>
            <a:r>
              <a:rPr lang="en-US" sz="20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pile/Create Necessary Datase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st data was created using a structure similar to what DCX is capable of providing.</a:t>
            </a:r>
          </a:p>
          <a:p>
            <a:pPr marL="457200" indent="-457200"/>
            <a:endParaRPr lang="en-US" sz="2000" dirty="0" smtClean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/>
            <a:r>
              <a:rPr lang="en-US" sz="20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ild Predictive Framework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edictive framework showed promising results at predicting whether a project would complete “Late”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e prototype framework is capable of being utilized with DCX data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is would require a “standardized” dataset of at least 50 to 100 projects.</a:t>
            </a:r>
            <a:endParaRPr lang="en-US" sz="20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363"/>
            <a:fld id="{727B4C2D-45E2-4621-8491-2995EB46A674}" type="slidenum">
              <a:rPr lang="en-US" smtClean="0"/>
              <a:pPr defTabSz="914363"/>
              <a:t>5</a:t>
            </a:fld>
            <a:endParaRPr lang="en-US"/>
          </a:p>
        </p:txBody>
      </p:sp>
      <p:sp>
        <p:nvSpPr>
          <p:cNvPr id="8" name="Freeform: Shape 7"/>
          <p:cNvSpPr/>
          <p:nvPr/>
        </p:nvSpPr>
        <p:spPr>
          <a:xfrm>
            <a:off x="0" y="6515100"/>
            <a:ext cx="12192000" cy="342900"/>
          </a:xfrm>
          <a:custGeom>
            <a:avLst/>
            <a:gdLst>
              <a:gd name="connsiteX0" fmla="*/ 12192000 w 12192000"/>
              <a:gd name="connsiteY0" fmla="*/ 0 h 342900"/>
              <a:gd name="connsiteX1" fmla="*/ 12192000 w 12192000"/>
              <a:gd name="connsiteY1" fmla="*/ 342900 h 342900"/>
              <a:gd name="connsiteX2" fmla="*/ 0 w 12192000"/>
              <a:gd name="connsiteY2" fmla="*/ 342900 h 342900"/>
              <a:gd name="connsiteX3" fmla="*/ 0 w 12192000"/>
              <a:gd name="connsiteY3" fmla="*/ 260092 h 34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900">
                <a:moveTo>
                  <a:pt x="12192000" y="0"/>
                </a:moveTo>
                <a:lnTo>
                  <a:pt x="12192000" y="342900"/>
                </a:lnTo>
                <a:lnTo>
                  <a:pt x="0" y="342900"/>
                </a:lnTo>
                <a:lnTo>
                  <a:pt x="0" y="260092"/>
                </a:lnTo>
                <a:close/>
              </a:path>
            </a:pathLst>
          </a:custGeom>
          <a:solidFill>
            <a:schemeClr val="accent1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800">
                <a:solidFill>
                  <a:schemeClr val="bg1">
                    <a:lumMod val="75000"/>
                  </a:schemeClr>
                </a:solidFill>
              </a:rPr>
              <a:t>©Valorem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000" y="6162485"/>
            <a:ext cx="400543" cy="400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75977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/>
          <p:cNvSpPr/>
          <p:nvPr/>
        </p:nvSpPr>
        <p:spPr>
          <a:xfrm>
            <a:off x="7987237" y="0"/>
            <a:ext cx="4204763" cy="6751982"/>
          </a:xfrm>
          <a:custGeom>
            <a:avLst/>
            <a:gdLst>
              <a:gd name="connsiteX0" fmla="*/ 826228 w 4204763"/>
              <a:gd name="connsiteY0" fmla="*/ 0 h 6751982"/>
              <a:gd name="connsiteX1" fmla="*/ 4204763 w 4204763"/>
              <a:gd name="connsiteY1" fmla="*/ 0 h 6751982"/>
              <a:gd name="connsiteX2" fmla="*/ 4204763 w 4204763"/>
              <a:gd name="connsiteY2" fmla="*/ 6751982 h 6751982"/>
              <a:gd name="connsiteX3" fmla="*/ 4201715 w 4204763"/>
              <a:gd name="connsiteY3" fmla="*/ 6751982 h 6751982"/>
              <a:gd name="connsiteX4" fmla="*/ 4201715 w 4204763"/>
              <a:gd name="connsiteY4" fmla="*/ 6748678 h 6751982"/>
              <a:gd name="connsiteX5" fmla="*/ 0 w 4204763"/>
              <a:gd name="connsiteY5" fmla="*/ 6704685 h 6751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04763" h="6751982">
                <a:moveTo>
                  <a:pt x="826228" y="0"/>
                </a:moveTo>
                <a:lnTo>
                  <a:pt x="4204763" y="0"/>
                </a:lnTo>
                <a:lnTo>
                  <a:pt x="4204763" y="6751982"/>
                </a:lnTo>
                <a:lnTo>
                  <a:pt x="4201715" y="6751982"/>
                </a:lnTo>
                <a:lnTo>
                  <a:pt x="4201715" y="6748678"/>
                </a:lnTo>
                <a:lnTo>
                  <a:pt x="0" y="6704685"/>
                </a:lnTo>
                <a:close/>
              </a:path>
            </a:pathLst>
          </a:custGeom>
          <a:solidFill>
            <a:schemeClr val="accent1">
              <a:alpha val="97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ommended Next Steps</a:t>
            </a:r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08000" y="1438273"/>
            <a:ext cx="7645400" cy="4429239"/>
          </a:xfrm>
          <a:prstGeom prst="rect">
            <a:avLst/>
          </a:prstGeom>
          <a:noFill/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inue mapping the existing data provided by the DCX team, with a concentration on Lease project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hance prototype framework to mature beyond </a:t>
            </a:r>
            <a:r>
              <a:rPr lang="en-US" sz="2800" dirty="0" err="1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C</a:t>
            </a:r>
            <a:r>
              <a:rPr lang="en-US" sz="2800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fine “Next Best Steps” to bring stabilization and predictability to Build projects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363"/>
            <a:fld id="{727B4C2D-45E2-4621-8491-2995EB46A674}" type="slidenum">
              <a:rPr lang="en-US" smtClean="0"/>
              <a:pPr defTabSz="914363"/>
              <a:t>6</a:t>
            </a:fld>
            <a:endParaRPr lang="en-US"/>
          </a:p>
        </p:txBody>
      </p:sp>
      <p:sp>
        <p:nvSpPr>
          <p:cNvPr id="8" name="Freeform: Shape 7"/>
          <p:cNvSpPr/>
          <p:nvPr/>
        </p:nvSpPr>
        <p:spPr>
          <a:xfrm>
            <a:off x="0" y="6515100"/>
            <a:ext cx="12192000" cy="342900"/>
          </a:xfrm>
          <a:custGeom>
            <a:avLst/>
            <a:gdLst>
              <a:gd name="connsiteX0" fmla="*/ 12192000 w 12192000"/>
              <a:gd name="connsiteY0" fmla="*/ 0 h 342900"/>
              <a:gd name="connsiteX1" fmla="*/ 12192000 w 12192000"/>
              <a:gd name="connsiteY1" fmla="*/ 342900 h 342900"/>
              <a:gd name="connsiteX2" fmla="*/ 0 w 12192000"/>
              <a:gd name="connsiteY2" fmla="*/ 342900 h 342900"/>
              <a:gd name="connsiteX3" fmla="*/ 0 w 12192000"/>
              <a:gd name="connsiteY3" fmla="*/ 260092 h 34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900">
                <a:moveTo>
                  <a:pt x="12192000" y="0"/>
                </a:moveTo>
                <a:lnTo>
                  <a:pt x="12192000" y="342900"/>
                </a:lnTo>
                <a:lnTo>
                  <a:pt x="0" y="342900"/>
                </a:lnTo>
                <a:lnTo>
                  <a:pt x="0" y="260092"/>
                </a:lnTo>
                <a:close/>
              </a:path>
            </a:pathLst>
          </a:custGeom>
          <a:solidFill>
            <a:schemeClr val="accent1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800">
                <a:solidFill>
                  <a:schemeClr val="bg1">
                    <a:lumMod val="75000"/>
                  </a:schemeClr>
                </a:solidFill>
              </a:rPr>
              <a:t>©Valorem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000" y="6162485"/>
            <a:ext cx="400543" cy="400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2081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Valorem">
  <a:themeElements>
    <a:clrScheme name="Custom 6">
      <a:dk1>
        <a:sysClr val="windowText" lastClr="000000"/>
      </a:dk1>
      <a:lt1>
        <a:sysClr val="window" lastClr="FFFFFF"/>
      </a:lt1>
      <a:dk2>
        <a:srgbClr val="595959"/>
      </a:dk2>
      <a:lt2>
        <a:srgbClr val="FFFFFF"/>
      </a:lt2>
      <a:accent1>
        <a:srgbClr val="303E48"/>
      </a:accent1>
      <a:accent2>
        <a:srgbClr val="0055B8"/>
      </a:accent2>
      <a:accent3>
        <a:srgbClr val="4C8B2B"/>
      </a:accent3>
      <a:accent4>
        <a:srgbClr val="009ADE"/>
      </a:accent4>
      <a:accent5>
        <a:srgbClr val="6CC04A"/>
      </a:accent5>
      <a:accent6>
        <a:srgbClr val="FEA500"/>
      </a:accent6>
      <a:hlink>
        <a:srgbClr val="FEA500"/>
      </a:hlink>
      <a:folHlink>
        <a:srgbClr val="FC4B00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25400">
          <a:noFill/>
          <a:headEnd type="triangle"/>
          <a:tailEnd type="none"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6350">
          <a:solidFill>
            <a:schemeClr val="bg1">
              <a:lumMod val="75000"/>
            </a:schemeClr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400" spc="-70" dirty="0" smtClean="0">
            <a:gradFill>
              <a:gsLst>
                <a:gs pos="2917">
                  <a:schemeClr val="bg2"/>
                </a:gs>
                <a:gs pos="95000">
                  <a:schemeClr val="bg2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nofficial O15 Post-Jul16 - Office_Template_2012_16x9_WHITE [Read-Only]" id="{988BD2BE-84F2-4F30-A250-29352BB53896}" vid="{502A3F0F-A4D6-4024-8341-F88BC6E8736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7">
    <wetp:webextensionref xmlns:r="http://schemas.openxmlformats.org/officeDocument/2006/relationships" r:id="rId1"/>
  </wetp:taskpane>
  <wetp:taskpane dockstate="right" visibility="0" width="350" row="6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1B4C4108-813C-4934-B2FC-515B63F97AD1}">
  <we:reference id="wa104380169" version="1.1.0.0" store="en-US" storeType="OMEX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CA75FFD5-7897-47E5-BE45-B1E26FFE59D4}">
  <we:reference id="wa104379997" version="1.0.0.0" store="en-US" storeType="OMEX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9DABEAF9F8A04D8F1ABBD91AB27C70" ma:contentTypeVersion="7" ma:contentTypeDescription="Create a new document." ma:contentTypeScope="" ma:versionID="0a89eafc657e16e7d2794d66853396f5">
  <xsd:schema xmlns:xsd="http://www.w3.org/2001/XMLSchema" xmlns:xs="http://www.w3.org/2001/XMLSchema" xmlns:p="http://schemas.microsoft.com/office/2006/metadata/properties" xmlns:ns1="http://schemas.microsoft.com/sharepoint/v3" xmlns:ns2="70dcd4cf-9c6e-459d-a4ea-805e647abef2" xmlns:ns3="997ffc08-a8f1-4a33-883c-6fe89f9dd5fa" targetNamespace="http://schemas.microsoft.com/office/2006/metadata/properties" ma:root="true" ma:fieldsID="dfad468a3d3d17ed2d3e439cbe9938e0" ns1:_="" ns2:_="" ns3:_="">
    <xsd:import namespace="http://schemas.microsoft.com/sharepoint/v3"/>
    <xsd:import namespace="70dcd4cf-9c6e-459d-a4ea-805e647abef2"/>
    <xsd:import namespace="997ffc08-a8f1-4a33-883c-6fe89f9dd5f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1:PublishingStartDate" minOccurs="0"/>
                <xsd:element ref="ns1:PublishingExpirationDate" minOccurs="0"/>
                <xsd:element ref="ns3:MediaServiceAutoTags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2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13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dcd4cf-9c6e-459d-a4ea-805e647abef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7ffc08-a8f1-4a33-883c-6fe89f9dd5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5" nillable="true" ma:displayName="MediaServiceDateTaken" ma:description="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0dcd4cf-9c6e-459d-a4ea-805e647abef2">
      <UserInfo>
        <DisplayName>Steve Cummings</DisplayName>
        <AccountId>212</AccountId>
        <AccountType/>
      </UserInfo>
      <UserInfo>
        <DisplayName>Allison Jensen</DisplayName>
        <AccountId>234</AccountId>
        <AccountType/>
      </UserInfo>
      <UserInfo>
        <DisplayName>Domnick Parretta</DisplayName>
        <AccountId>16</AccountId>
        <AccountType/>
      </UserInfo>
      <UserInfo>
        <DisplayName>Andrea Dancs</DisplayName>
        <AccountId>748</AccountId>
        <AccountType/>
      </UserInfo>
      <UserInfo>
        <DisplayName>Jason Ritchey</DisplayName>
        <AccountId>24</AccountId>
        <AccountType/>
      </UserInfo>
      <UserInfo>
        <DisplayName>Charly Hartley</DisplayName>
        <AccountId>617</AccountId>
        <AccountType/>
      </UserInfo>
    </SharedWithUsers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3F21777-E520-4424-BBFF-9E2AA5AD9F76}">
  <ds:schemaRefs>
    <ds:schemaRef ds:uri="70dcd4cf-9c6e-459d-a4ea-805e647abef2"/>
    <ds:schemaRef ds:uri="997ffc08-a8f1-4a33-883c-6fe89f9dd5f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4365AFC-432E-47C3-829B-62446E10221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D4E24DE-A274-4886-BF1D-9211DC47F961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997ffc08-a8f1-4a33-883c-6fe89f9dd5fa"/>
    <ds:schemaRef ds:uri="70dcd4cf-9c6e-459d-a4ea-805e647abef2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82</TotalTime>
  <Words>240</Words>
  <Application>Microsoft Office PowerPoint</Application>
  <PresentationFormat>Widescreen</PresentationFormat>
  <Paragraphs>72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Segoe UI</vt:lpstr>
      <vt:lpstr>Segoe UI Light</vt:lpstr>
      <vt:lpstr>Segoe UI Semibold</vt:lpstr>
      <vt:lpstr>Wingdings</vt:lpstr>
      <vt:lpstr>3_Valorem</vt:lpstr>
      <vt:lpstr>think-cell Slide</vt:lpstr>
      <vt:lpstr>Predicting Project Completion Time Microsoft DCX</vt:lpstr>
      <vt:lpstr>Agenda</vt:lpstr>
      <vt:lpstr>Goal</vt:lpstr>
      <vt:lpstr>Methodology</vt:lpstr>
      <vt:lpstr>Results</vt:lpstr>
      <vt:lpstr>Recommended Next Ste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MERSIVE APP ENVISIONING</dc:title>
  <dc:creator>Brad Llewellyn</dc:creator>
  <cp:lastModifiedBy>Brad Llewellyn</cp:lastModifiedBy>
  <cp:revision>63</cp:revision>
  <dcterms:modified xsi:type="dcterms:W3CDTF">2018-02-22T17:3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9DABEAF9F8A04D8F1ABBD91AB27C70</vt:lpwstr>
  </property>
</Properties>
</file>